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8"/>
  </p:sldMasterIdLst>
  <p:notesMasterIdLst>
    <p:notesMasterId r:id="rId27"/>
  </p:notesMasterIdLst>
  <p:handoutMasterIdLst>
    <p:handoutMasterId r:id="rId28"/>
  </p:handoutMasterIdLst>
  <p:sldIdLst>
    <p:sldId id="260" r:id="rId9"/>
    <p:sldId id="258" r:id="rId10"/>
    <p:sldId id="562" r:id="rId11"/>
    <p:sldId id="561" r:id="rId12"/>
    <p:sldId id="534" r:id="rId13"/>
    <p:sldId id="257" r:id="rId14"/>
    <p:sldId id="581" r:id="rId15"/>
    <p:sldId id="582" r:id="rId16"/>
    <p:sldId id="583" r:id="rId17"/>
    <p:sldId id="584" r:id="rId18"/>
    <p:sldId id="585" r:id="rId19"/>
    <p:sldId id="586" r:id="rId20"/>
    <p:sldId id="587" r:id="rId21"/>
    <p:sldId id="531" r:id="rId22"/>
    <p:sldId id="597" r:id="rId23"/>
    <p:sldId id="563" r:id="rId24"/>
    <p:sldId id="598" r:id="rId25"/>
    <p:sldId id="25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Sargable Expressions" id="{25ADF4C8-2200-4410-9F45-B05F5BA6D4E6}">
          <p14:sldIdLst>
            <p14:sldId id="561"/>
            <p14:sldId id="534"/>
            <p14:sldId id="257"/>
            <p14:sldId id="581"/>
            <p14:sldId id="582"/>
            <p14:sldId id="583"/>
            <p14:sldId id="584"/>
            <p14:sldId id="585"/>
            <p14:sldId id="586"/>
            <p14:sldId id="587"/>
            <p14:sldId id="531"/>
            <p14:sldId id="597"/>
            <p14:sldId id="563"/>
            <p14:sldId id="598"/>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8313DB-29EE-4DA7-8770-2F7E4AF38236}" v="2" dt="2025-04-07T13:47:35.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63625" autoAdjust="0"/>
  </p:normalViewPr>
  <p:slideViewPr>
    <p:cSldViewPr snapToGrid="0">
      <p:cViewPr varScale="1">
        <p:scale>
          <a:sx n="45" d="100"/>
          <a:sy n="45" d="100"/>
        </p:scale>
        <p:origin x="782" y="252"/>
      </p:cViewPr>
      <p:guideLst/>
    </p:cSldViewPr>
  </p:slideViewPr>
  <p:outlineViewPr>
    <p:cViewPr>
      <p:scale>
        <a:sx n="33" d="100"/>
        <a:sy n="33" d="100"/>
      </p:scale>
      <p:origin x="0" y="-20362"/>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Master" Target="slideMasters/slide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lmir Meneses" userId="0158c7b8-b204-4b2b-a469-45c2adc154b5" providerId="ADAL" clId="{298313DB-29EE-4DA7-8770-2F7E4AF38236}"/>
    <pc:docChg chg="addSld delSld modSld delSection modSection">
      <pc:chgData name="Valmir Meneses" userId="0158c7b8-b204-4b2b-a469-45c2adc154b5" providerId="ADAL" clId="{298313DB-29EE-4DA7-8770-2F7E4AF38236}" dt="2025-04-07T13:47:35.997" v="7"/>
      <pc:docMkLst>
        <pc:docMk/>
      </pc:docMkLst>
      <pc:sldChg chg="del">
        <pc:chgData name="Valmir Meneses" userId="0158c7b8-b204-4b2b-a469-45c2adc154b5" providerId="ADAL" clId="{298313DB-29EE-4DA7-8770-2F7E4AF38236}" dt="2025-04-04T18:05:00.269" v="1" actId="2696"/>
        <pc:sldMkLst>
          <pc:docMk/>
          <pc:sldMk cId="2980146838" sldId="560"/>
        </pc:sldMkLst>
      </pc:sldChg>
      <pc:sldChg chg="modSp mod">
        <pc:chgData name="Valmir Meneses" userId="0158c7b8-b204-4b2b-a469-45c2adc154b5" providerId="ADAL" clId="{298313DB-29EE-4DA7-8770-2F7E4AF38236}" dt="2025-04-04T18:04:44.248" v="0" actId="6549"/>
        <pc:sldMkLst>
          <pc:docMk/>
          <pc:sldMk cId="1615560134" sldId="562"/>
        </pc:sldMkLst>
        <pc:spChg chg="mod">
          <ac:chgData name="Valmir Meneses" userId="0158c7b8-b204-4b2b-a469-45c2adc154b5" providerId="ADAL" clId="{298313DB-29EE-4DA7-8770-2F7E4AF38236}" dt="2025-04-04T18:04:44.248" v="0" actId="6549"/>
          <ac:spMkLst>
            <pc:docMk/>
            <pc:sldMk cId="1615560134" sldId="562"/>
            <ac:spMk id="3" creationId="{859B2BAE-A383-4E74-B3CF-9AC64DA11727}"/>
          </ac:spMkLst>
        </pc:spChg>
      </pc:sldChg>
      <pc:sldChg chg="addSp modSp new mod">
        <pc:chgData name="Valmir Meneses" userId="0158c7b8-b204-4b2b-a469-45c2adc154b5" providerId="ADAL" clId="{298313DB-29EE-4DA7-8770-2F7E4AF38236}" dt="2025-04-07T13:47:35.997" v="7"/>
        <pc:sldMkLst>
          <pc:docMk/>
          <pc:sldMk cId="1006452990" sldId="598"/>
        </pc:sldMkLst>
        <pc:picChg chg="add mod">
          <ac:chgData name="Valmir Meneses" userId="0158c7b8-b204-4b2b-a469-45c2adc154b5" providerId="ADAL" clId="{298313DB-29EE-4DA7-8770-2F7E4AF38236}" dt="2025-04-07T13:47:35.997" v="7"/>
          <ac:picMkLst>
            <pc:docMk/>
            <pc:sldMk cId="1006452990" sldId="598"/>
            <ac:picMk id="4" creationId="{7E48B36C-DC4E-CF2C-D4B7-F538289BDA4C}"/>
          </ac:picMkLst>
        </pc:picChg>
      </pc:sldChg>
      <pc:sldChg chg="del">
        <pc:chgData name="Valmir Meneses" userId="0158c7b8-b204-4b2b-a469-45c2adc154b5" providerId="ADAL" clId="{298313DB-29EE-4DA7-8770-2F7E4AF38236}" dt="2025-04-04T18:05:26.450" v="2" actId="18676"/>
        <pc:sldMkLst>
          <pc:docMk/>
          <pc:sldMk cId="675791800" sldId="2147470523"/>
        </pc:sldMkLst>
      </pc:sldChg>
      <pc:sldChg chg="del">
        <pc:chgData name="Valmir Meneses" userId="0158c7b8-b204-4b2b-a469-45c2adc154b5" providerId="ADAL" clId="{298313DB-29EE-4DA7-8770-2F7E4AF38236}" dt="2025-04-04T18:05:26.450" v="2" actId="18676"/>
        <pc:sldMkLst>
          <pc:docMk/>
          <pc:sldMk cId="260346937" sldId="2147470524"/>
        </pc:sldMkLst>
      </pc:sldChg>
      <pc:sldChg chg="del">
        <pc:chgData name="Valmir Meneses" userId="0158c7b8-b204-4b2b-a469-45c2adc154b5" providerId="ADAL" clId="{298313DB-29EE-4DA7-8770-2F7E4AF38236}" dt="2025-04-04T18:05:26.450" v="2" actId="18676"/>
        <pc:sldMkLst>
          <pc:docMk/>
          <pc:sldMk cId="2978027905" sldId="2147470525"/>
        </pc:sldMkLst>
      </pc:sldChg>
      <pc:sldChg chg="del">
        <pc:chgData name="Valmir Meneses" userId="0158c7b8-b204-4b2b-a469-45c2adc154b5" providerId="ADAL" clId="{298313DB-29EE-4DA7-8770-2F7E4AF38236}" dt="2025-04-04T18:05:26.450" v="2" actId="18676"/>
        <pc:sldMkLst>
          <pc:docMk/>
          <pc:sldMk cId="3178764289" sldId="2147470527"/>
        </pc:sldMkLst>
      </pc:sldChg>
      <pc:sldChg chg="del">
        <pc:chgData name="Valmir Meneses" userId="0158c7b8-b204-4b2b-a469-45c2adc154b5" providerId="ADAL" clId="{298313DB-29EE-4DA7-8770-2F7E4AF38236}" dt="2025-04-04T18:05:26.450" v="2" actId="18676"/>
        <pc:sldMkLst>
          <pc:docMk/>
          <pc:sldMk cId="101815774" sldId="2147470528"/>
        </pc:sldMkLst>
      </pc:sldChg>
      <pc:sldChg chg="del">
        <pc:chgData name="Valmir Meneses" userId="0158c7b8-b204-4b2b-a469-45c2adc154b5" providerId="ADAL" clId="{298313DB-29EE-4DA7-8770-2F7E4AF38236}" dt="2025-04-04T18:05:26.450" v="2" actId="18676"/>
        <pc:sldMkLst>
          <pc:docMk/>
          <pc:sldMk cId="1091213184" sldId="2147470529"/>
        </pc:sldMkLst>
      </pc:sldChg>
      <pc:sldChg chg="del">
        <pc:chgData name="Valmir Meneses" userId="0158c7b8-b204-4b2b-a469-45c2adc154b5" providerId="ADAL" clId="{298313DB-29EE-4DA7-8770-2F7E4AF38236}" dt="2025-04-04T18:05:26.450" v="2" actId="18676"/>
        <pc:sldMkLst>
          <pc:docMk/>
          <pc:sldMk cId="670739535" sldId="2147470530"/>
        </pc:sldMkLst>
      </pc:sldChg>
      <pc:sldChg chg="del">
        <pc:chgData name="Valmir Meneses" userId="0158c7b8-b204-4b2b-a469-45c2adc154b5" providerId="ADAL" clId="{298313DB-29EE-4DA7-8770-2F7E4AF38236}" dt="2025-04-04T18:05:26.450" v="2" actId="18676"/>
        <pc:sldMkLst>
          <pc:docMk/>
          <pc:sldMk cId="3809968836" sldId="2147470531"/>
        </pc:sldMkLst>
      </pc:sldChg>
      <pc:sldChg chg="del">
        <pc:chgData name="Valmir Meneses" userId="0158c7b8-b204-4b2b-a469-45c2adc154b5" providerId="ADAL" clId="{298313DB-29EE-4DA7-8770-2F7E4AF38236}" dt="2025-04-04T18:05:26.450" v="2" actId="18676"/>
        <pc:sldMkLst>
          <pc:docMk/>
          <pc:sldMk cId="722696360" sldId="214747053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41556ACD-E1A5-4B29-9504-D8AEB7027567}">
      <dgm:prSet/>
      <dgm:spPr/>
      <dgm:t>
        <a:bodyPr/>
        <a:lstStyle/>
        <a:p>
          <a:r>
            <a:rPr lang="en-US" baseline="0"/>
            <a:t>A SARGable item in a search predicate is able to use an index.</a:t>
          </a:r>
          <a:endParaRPr lang="en-US"/>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aseline="0"/>
            <a:t>Non-SARGable expressions can significantly slow down queries.</a:t>
          </a:r>
          <a:endParaRPr lang="en-US"/>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2DB46F6-5F53-4EC9-A46C-F034D9DB0964}"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58412D6-D291-4A55-922B-B8D7B19ACE9B}">
      <dgm:prSet/>
      <dgm:spPr/>
      <dgm:t>
        <a:bodyPr/>
        <a:lstStyle/>
        <a:p>
          <a:pPr>
            <a:buNone/>
          </a:pPr>
          <a:r>
            <a:rPr lang="en-US" baseline="0"/>
            <a:t>RECOMPILE</a:t>
          </a:r>
          <a:endParaRPr lang="en-US"/>
        </a:p>
      </dgm:t>
    </dgm:pt>
    <dgm:pt modelId="{57E42644-B75D-41B9-B89E-D8145BB362E0}" type="parTrans" cxnId="{0FD0074E-99EA-4C72-B1C6-043BF465E7B2}">
      <dgm:prSet/>
      <dgm:spPr/>
      <dgm:t>
        <a:bodyPr/>
        <a:lstStyle/>
        <a:p>
          <a:endParaRPr lang="en-US"/>
        </a:p>
      </dgm:t>
    </dgm:pt>
    <dgm:pt modelId="{8FDD0A44-E09B-4C7B-88B2-3AD14580B595}" type="sibTrans" cxnId="{0FD0074E-99EA-4C72-B1C6-043BF465E7B2}">
      <dgm:prSet/>
      <dgm:spPr/>
      <dgm:t>
        <a:bodyPr/>
        <a:lstStyle/>
        <a:p>
          <a:endParaRPr lang="en-US"/>
        </a:p>
      </dgm:t>
    </dgm:pt>
    <dgm:pt modelId="{58B50CFB-9F05-44FB-8B1E-ABF91C20DECD}">
      <dgm:prSet/>
      <dgm:spPr/>
      <dgm:t>
        <a:bodyPr/>
        <a:lstStyle/>
        <a:p>
          <a:pPr>
            <a:buFont typeface="Arial" panose="020B0604020202020204" pitchFamily="34" charset="0"/>
            <a:buChar char="•"/>
          </a:pPr>
          <a:r>
            <a:rPr lang="en-US" baseline="0"/>
            <a:t>This workaround trades compilation time and increased CPU for better plan quality.</a:t>
          </a:r>
          <a:endParaRPr lang="en-US"/>
        </a:p>
      </dgm:t>
    </dgm:pt>
    <dgm:pt modelId="{DE4D9D49-C9F9-494A-9E7B-AE7F99D81421}" type="parTrans" cxnId="{08011072-B682-408C-B0A8-C1EC6EE6968C}">
      <dgm:prSet/>
      <dgm:spPr/>
      <dgm:t>
        <a:bodyPr/>
        <a:lstStyle/>
        <a:p>
          <a:endParaRPr lang="en-US"/>
        </a:p>
      </dgm:t>
    </dgm:pt>
    <dgm:pt modelId="{A1F0A619-F650-4BC8-AC90-D4A10227C917}" type="sibTrans" cxnId="{08011072-B682-408C-B0A8-C1EC6EE6968C}">
      <dgm:prSet/>
      <dgm:spPr/>
      <dgm:t>
        <a:bodyPr/>
        <a:lstStyle/>
        <a:p>
          <a:endParaRPr lang="en-US"/>
        </a:p>
      </dgm:t>
    </dgm:pt>
    <dgm:pt modelId="{23175ACD-B460-47B1-907F-497A408734B1}">
      <dgm:prSet/>
      <dgm:spPr/>
      <dgm:t>
        <a:bodyPr/>
        <a:lstStyle/>
        <a:p>
          <a:pPr algn="l">
            <a:buNone/>
          </a:pPr>
          <a:r>
            <a:rPr lang="en-US" baseline="0"/>
            <a:t>OPTION (OPTIMIZE FOR…)</a:t>
          </a:r>
          <a:endParaRPr lang="en-US"/>
        </a:p>
      </dgm:t>
    </dgm:pt>
    <dgm:pt modelId="{3CF425A9-AE37-49D9-8C6B-848B2704C819}" type="parTrans" cxnId="{453DB83B-2CF5-428F-8A32-CF5BC505AADC}">
      <dgm:prSet/>
      <dgm:spPr/>
      <dgm:t>
        <a:bodyPr/>
        <a:lstStyle/>
        <a:p>
          <a:endParaRPr lang="en-US"/>
        </a:p>
      </dgm:t>
    </dgm:pt>
    <dgm:pt modelId="{2D7AB0FB-0A29-44FF-B60A-4DFD5E6C0F5F}" type="sibTrans" cxnId="{453DB83B-2CF5-428F-8A32-CF5BC505AADC}">
      <dgm:prSet/>
      <dgm:spPr/>
      <dgm:t>
        <a:bodyPr/>
        <a:lstStyle/>
        <a:p>
          <a:endParaRPr lang="en-US"/>
        </a:p>
      </dgm:t>
    </dgm:pt>
    <dgm:pt modelId="{A2C93826-32BB-4F29-BD66-C0E653C58BA6}">
      <dgm:prSet/>
      <dgm:spPr/>
      <dgm:t>
        <a:bodyPr/>
        <a:lstStyle/>
        <a:p>
          <a:pPr algn="l">
            <a:buFont typeface="Arial" panose="020B0604020202020204" pitchFamily="34" charset="0"/>
            <a:buChar char="•"/>
          </a:pPr>
          <a:r>
            <a:rPr lang="en-US" baseline="0"/>
            <a:t>This option requires a good understanding of optimal parameter values and associated plan characteristics.</a:t>
          </a:r>
          <a:endParaRPr lang="en-US"/>
        </a:p>
      </dgm:t>
    </dgm:pt>
    <dgm:pt modelId="{5328E02B-C8EB-4F7A-8BE8-4BEDB356145A}" type="parTrans" cxnId="{7EA9AAB1-87FE-416F-B7C0-26C2D529D55E}">
      <dgm:prSet/>
      <dgm:spPr/>
      <dgm:t>
        <a:bodyPr/>
        <a:lstStyle/>
        <a:p>
          <a:endParaRPr lang="en-US"/>
        </a:p>
      </dgm:t>
    </dgm:pt>
    <dgm:pt modelId="{5A0E78E2-355A-4F77-A080-56E0B622DE2F}" type="sibTrans" cxnId="{7EA9AAB1-87FE-416F-B7C0-26C2D529D55E}">
      <dgm:prSet/>
      <dgm:spPr/>
      <dgm:t>
        <a:bodyPr/>
        <a:lstStyle/>
        <a:p>
          <a:endParaRPr lang="en-US"/>
        </a:p>
      </dgm:t>
    </dgm:pt>
    <dgm:pt modelId="{2F52DF27-45B1-40B4-931C-E01F2F46D9C1}">
      <dgm:prSet/>
      <dgm:spPr/>
      <dgm:t>
        <a:bodyPr/>
        <a:lstStyle/>
        <a:p>
          <a:pPr algn="l">
            <a:buNone/>
          </a:pPr>
          <a:r>
            <a:rPr lang="en-US" baseline="0"/>
            <a:t>OPTION (OPTIMIZE FOR UNKNOWN)</a:t>
          </a:r>
          <a:endParaRPr lang="en-US"/>
        </a:p>
      </dgm:t>
    </dgm:pt>
    <dgm:pt modelId="{15913B23-4135-4B46-B17F-B0B0E90B9B34}" type="parTrans" cxnId="{B57A6D4F-B04E-4F2F-A359-AB384BA8B0B9}">
      <dgm:prSet/>
      <dgm:spPr/>
      <dgm:t>
        <a:bodyPr/>
        <a:lstStyle/>
        <a:p>
          <a:endParaRPr lang="en-US"/>
        </a:p>
      </dgm:t>
    </dgm:pt>
    <dgm:pt modelId="{4F3D4EE8-83E3-408C-9F7D-54A9061E5F88}" type="sibTrans" cxnId="{B57A6D4F-B04E-4F2F-A359-AB384BA8B0B9}">
      <dgm:prSet/>
      <dgm:spPr/>
      <dgm:t>
        <a:bodyPr/>
        <a:lstStyle/>
        <a:p>
          <a:endParaRPr lang="en-US"/>
        </a:p>
      </dgm:t>
    </dgm:pt>
    <dgm:pt modelId="{B5E8D640-D2AE-4A36-9C1F-0B842B7BB9DB}">
      <dgm:prSet/>
      <dgm:spPr/>
      <dgm:t>
        <a:bodyPr/>
        <a:lstStyle/>
        <a:p>
          <a:pPr algn="l">
            <a:buFont typeface="Arial" panose="020B0604020202020204" pitchFamily="34" charset="0"/>
            <a:buChar char="•"/>
          </a:pPr>
          <a:r>
            <a:rPr lang="en-US" baseline="0"/>
            <a:t>Overrides the actual parameter value and instead use the density vector.</a:t>
          </a:r>
          <a:endParaRPr lang="en-US"/>
        </a:p>
      </dgm:t>
    </dgm:pt>
    <dgm:pt modelId="{9317FCFA-448D-485A-A515-C9E1FF09174F}" type="parTrans" cxnId="{3859E363-EEEB-443C-8E02-6B6219BDBAA0}">
      <dgm:prSet/>
      <dgm:spPr/>
      <dgm:t>
        <a:bodyPr/>
        <a:lstStyle/>
        <a:p>
          <a:endParaRPr lang="en-US"/>
        </a:p>
      </dgm:t>
    </dgm:pt>
    <dgm:pt modelId="{20B0D165-966D-4A01-81F8-2DE9D7B28B25}" type="sibTrans" cxnId="{3859E363-EEEB-443C-8E02-6B6219BDBAA0}">
      <dgm:prSet/>
      <dgm:spPr/>
      <dgm:t>
        <a:bodyPr/>
        <a:lstStyle/>
        <a:p>
          <a:endParaRPr lang="en-US"/>
        </a:p>
      </dgm:t>
    </dgm:pt>
    <dgm:pt modelId="{34D35873-0E26-4A57-8AB6-2A43FFD8D870}">
      <dgm:prSet/>
      <dgm:spPr/>
      <dgm:t>
        <a:bodyPr/>
        <a:lstStyle/>
        <a:p>
          <a:pPr algn="l">
            <a:buNone/>
          </a:pPr>
          <a:r>
            <a:rPr lang="en-US" baseline="0"/>
            <a:t>DISABLE_PARAMETER_SNIFFING</a:t>
          </a:r>
          <a:endParaRPr lang="en-US"/>
        </a:p>
      </dgm:t>
    </dgm:pt>
    <dgm:pt modelId="{19444B79-3A14-4211-A3FF-CA6324E5B6B1}" type="parTrans" cxnId="{E63FA8FF-376F-4D59-8A3E-D687DB3C222C}">
      <dgm:prSet/>
      <dgm:spPr/>
      <dgm:t>
        <a:bodyPr/>
        <a:lstStyle/>
        <a:p>
          <a:endParaRPr lang="en-US"/>
        </a:p>
      </dgm:t>
    </dgm:pt>
    <dgm:pt modelId="{0441038C-10FE-4A7C-974E-EB7A901D6415}" type="sibTrans" cxnId="{E63FA8FF-376F-4D59-8A3E-D687DB3C222C}">
      <dgm:prSet/>
      <dgm:spPr/>
      <dgm:t>
        <a:bodyPr/>
        <a:lstStyle/>
        <a:p>
          <a:endParaRPr lang="en-US"/>
        </a:p>
      </dgm:t>
    </dgm:pt>
    <dgm:pt modelId="{BE046ED4-757B-4BCD-B408-936EE445B914}">
      <dgm:prSet/>
      <dgm:spPr/>
      <dgm:t>
        <a:bodyPr/>
        <a:lstStyle/>
        <a:p>
          <a:pPr algn="l">
            <a:buFont typeface="Arial" panose="020B0604020202020204" pitchFamily="34" charset="0"/>
            <a:buChar char="•"/>
          </a:pPr>
          <a:r>
            <a:rPr lang="en-US" baseline="0"/>
            <a:t>Disables parameter sniffing entirely. </a:t>
          </a:r>
          <a:br>
            <a:rPr lang="en-US" baseline="0"/>
          </a:br>
          <a:r>
            <a:rPr lang="en-US" baseline="0"/>
            <a:t>This hint name is equivalent to:</a:t>
          </a:r>
          <a:br>
            <a:rPr lang="en-US" baseline="0"/>
          </a:br>
          <a:r>
            <a:rPr lang="en-US" baseline="0"/>
            <a:t>- TRACE FLAG 4136</a:t>
          </a:r>
          <a:endParaRPr lang="en-US"/>
        </a:p>
      </dgm:t>
    </dgm:pt>
    <dgm:pt modelId="{96C2E00F-6E8C-4D91-8408-B70CAC23D019}" type="parTrans" cxnId="{96AE3555-7DED-4332-9738-8BA4B009DA45}">
      <dgm:prSet/>
      <dgm:spPr/>
      <dgm:t>
        <a:bodyPr/>
        <a:lstStyle/>
        <a:p>
          <a:endParaRPr lang="en-US"/>
        </a:p>
      </dgm:t>
    </dgm:pt>
    <dgm:pt modelId="{96BC0202-9519-4F9F-94BA-021F67B6AE64}" type="sibTrans" cxnId="{96AE3555-7DED-4332-9738-8BA4B009DA45}">
      <dgm:prSet/>
      <dgm:spPr/>
      <dgm:t>
        <a:bodyPr/>
        <a:lstStyle/>
        <a:p>
          <a:endParaRPr lang="en-US"/>
        </a:p>
      </dgm:t>
    </dgm:pt>
    <dgm:pt modelId="{1C6F4E55-1F73-4D07-9820-0441BA1459D7}">
      <dgm:prSet/>
      <dgm:spPr/>
      <dgm:t>
        <a:bodyPr/>
        <a:lstStyle/>
        <a:p>
          <a:pPr>
            <a:buNone/>
          </a:pPr>
          <a:r>
            <a:rPr lang="en-US" baseline="0"/>
            <a:t>KEEPFIXEDPLAN</a:t>
          </a:r>
          <a:endParaRPr lang="en-US"/>
        </a:p>
      </dgm:t>
    </dgm:pt>
    <dgm:pt modelId="{30F95ACC-80A0-44FE-A931-2E4EF6CC1ABE}" type="parTrans" cxnId="{22A57A1D-5E21-4824-89F0-B5E5F9242590}">
      <dgm:prSet/>
      <dgm:spPr/>
      <dgm:t>
        <a:bodyPr/>
        <a:lstStyle/>
        <a:p>
          <a:endParaRPr lang="en-US"/>
        </a:p>
      </dgm:t>
    </dgm:pt>
    <dgm:pt modelId="{A8761A17-AF42-485A-BF98-8CEFC7FEC355}" type="sibTrans" cxnId="{22A57A1D-5E21-4824-89F0-B5E5F9242590}">
      <dgm:prSet/>
      <dgm:spPr/>
      <dgm:t>
        <a:bodyPr/>
        <a:lstStyle/>
        <a:p>
          <a:endParaRPr lang="en-US"/>
        </a:p>
      </dgm:t>
    </dgm:pt>
    <dgm:pt modelId="{6EBF04CD-DD98-48DA-B92E-007F0FEA986B}">
      <dgm:prSet/>
      <dgm:spPr/>
      <dgm:t>
        <a:bodyPr/>
        <a:lstStyle/>
        <a:p>
          <a:pPr>
            <a:buFont typeface="Arial" panose="020B0604020202020204" pitchFamily="34" charset="0"/>
            <a:buChar char="•"/>
          </a:pPr>
          <a:r>
            <a:rPr lang="en-US" baseline="0"/>
            <a:t>This workaround assumes that the good-enough common plan is the one in cache already.</a:t>
          </a:r>
          <a:endParaRPr lang="en-US"/>
        </a:p>
      </dgm:t>
    </dgm:pt>
    <dgm:pt modelId="{87A91930-F3B1-48D4-B9EF-F1F085443AAE}" type="parTrans" cxnId="{17056C32-543B-415B-9C66-DB9557FE93C3}">
      <dgm:prSet/>
      <dgm:spPr/>
      <dgm:t>
        <a:bodyPr/>
        <a:lstStyle/>
        <a:p>
          <a:endParaRPr lang="en-US"/>
        </a:p>
      </dgm:t>
    </dgm:pt>
    <dgm:pt modelId="{5A094809-B3CA-4D16-9BB8-E306BFE95039}" type="sibTrans" cxnId="{17056C32-543B-415B-9C66-DB9557FE93C3}">
      <dgm:prSet/>
      <dgm:spPr/>
      <dgm:t>
        <a:bodyPr/>
        <a:lstStyle/>
        <a:p>
          <a:endParaRPr lang="en-US"/>
        </a:p>
      </dgm:t>
    </dgm:pt>
    <dgm:pt modelId="{8DB78661-C22C-4ABC-8D53-B8B835C56C4F}">
      <dgm:prSet/>
      <dgm:spPr/>
      <dgm:t>
        <a:bodyPr/>
        <a:lstStyle/>
        <a:p>
          <a:pPr>
            <a:buNone/>
          </a:pPr>
          <a:r>
            <a:rPr lang="en-US" baseline="0"/>
            <a:t>USE PLAN</a:t>
          </a:r>
          <a:endParaRPr lang="en-US"/>
        </a:p>
      </dgm:t>
    </dgm:pt>
    <dgm:pt modelId="{74D9ECE9-5373-44A0-B282-F26715BB5294}" type="parTrans" cxnId="{BFC261A8-CDF5-4A6A-B5CF-C52B95DB8473}">
      <dgm:prSet/>
      <dgm:spPr/>
      <dgm:t>
        <a:bodyPr/>
        <a:lstStyle/>
        <a:p>
          <a:endParaRPr lang="en-US"/>
        </a:p>
      </dgm:t>
    </dgm:pt>
    <dgm:pt modelId="{85DEAFD6-49A8-458E-8B6F-4FBD8931A1E7}" type="sibTrans" cxnId="{BFC261A8-CDF5-4A6A-B5CF-C52B95DB8473}">
      <dgm:prSet/>
      <dgm:spPr/>
      <dgm:t>
        <a:bodyPr/>
        <a:lstStyle/>
        <a:p>
          <a:endParaRPr lang="en-US"/>
        </a:p>
      </dgm:t>
    </dgm:pt>
    <dgm:pt modelId="{613A97B1-F300-4A27-A9EF-4E96B5E9A250}">
      <dgm:prSet/>
      <dgm:spPr/>
      <dgm:t>
        <a:bodyPr/>
        <a:lstStyle/>
        <a:p>
          <a:pPr>
            <a:buFont typeface="Arial" panose="020B0604020202020204" pitchFamily="34" charset="0"/>
            <a:buChar char="•"/>
          </a:pPr>
          <a:r>
            <a:rPr lang="en-US" baseline="0"/>
            <a:t>Force the plan by explicitly using this query hint by rewriting the query and adding the hint in the query text. Or set a specific plan by using Query Store.</a:t>
          </a:r>
          <a:endParaRPr lang="en-US"/>
        </a:p>
      </dgm:t>
    </dgm:pt>
    <dgm:pt modelId="{7F5B0069-5734-4ACE-AADD-B1028EF8F542}" type="parTrans" cxnId="{F2416A4A-C17D-4E02-9A40-66AC264D257D}">
      <dgm:prSet/>
      <dgm:spPr/>
      <dgm:t>
        <a:bodyPr/>
        <a:lstStyle/>
        <a:p>
          <a:endParaRPr lang="en-US"/>
        </a:p>
      </dgm:t>
    </dgm:pt>
    <dgm:pt modelId="{04229689-7981-471E-8E3C-576AB5B8A7FF}" type="sibTrans" cxnId="{F2416A4A-C17D-4E02-9A40-66AC264D257D}">
      <dgm:prSet/>
      <dgm:spPr/>
      <dgm:t>
        <a:bodyPr/>
        <a:lstStyle/>
        <a:p>
          <a:endParaRPr lang="en-US"/>
        </a:p>
      </dgm:t>
    </dgm:pt>
    <dgm:pt modelId="{9B1C467E-72B2-4DCF-A00B-5396A755F43B}">
      <dgm:prSet/>
      <dgm:spPr/>
      <dgm:t>
        <a:bodyPr/>
        <a:lstStyle/>
        <a:p>
          <a:pPr algn="l">
            <a:buNone/>
          </a:pPr>
          <a:r>
            <a:rPr lang="en-US" baseline="0"/>
            <a:t>- Database Scoped Configuration setting PARAMETER_SNIFFING = OFF </a:t>
          </a:r>
          <a:endParaRPr lang="en-US"/>
        </a:p>
      </dgm:t>
    </dgm:pt>
    <dgm:pt modelId="{575DF50A-A82D-4ABB-934B-D4142D93B965}" type="parTrans" cxnId="{2ED8F6EF-9F12-4D48-AA83-3BCD7F758531}">
      <dgm:prSet/>
      <dgm:spPr/>
      <dgm:t>
        <a:bodyPr/>
        <a:lstStyle/>
        <a:p>
          <a:endParaRPr lang="en-US"/>
        </a:p>
      </dgm:t>
    </dgm:pt>
    <dgm:pt modelId="{D17EA634-8B78-42D3-9671-795754C949CC}" type="sibTrans" cxnId="{2ED8F6EF-9F12-4D48-AA83-3BCD7F758531}">
      <dgm:prSet/>
      <dgm:spPr/>
      <dgm:t>
        <a:bodyPr/>
        <a:lstStyle/>
        <a:p>
          <a:endParaRPr lang="en-US"/>
        </a:p>
      </dgm:t>
    </dgm:pt>
    <dgm:pt modelId="{7FA554B8-8738-4F20-B68A-776B14CB5148}" type="pres">
      <dgm:prSet presAssocID="{42DB46F6-5F53-4EC9-A46C-F034D9DB0964}" presName="diagram" presStyleCnt="0">
        <dgm:presLayoutVars>
          <dgm:dir/>
          <dgm:resizeHandles val="exact"/>
        </dgm:presLayoutVars>
      </dgm:prSet>
      <dgm:spPr/>
    </dgm:pt>
    <dgm:pt modelId="{449430D2-CDBD-46C7-A0B9-F95B959FCE9E}" type="pres">
      <dgm:prSet presAssocID="{758412D6-D291-4A55-922B-B8D7B19ACE9B}" presName="node" presStyleLbl="node1" presStyleIdx="0" presStyleCnt="6">
        <dgm:presLayoutVars>
          <dgm:bulletEnabled val="1"/>
        </dgm:presLayoutVars>
      </dgm:prSet>
      <dgm:spPr/>
    </dgm:pt>
    <dgm:pt modelId="{4AFA7E00-43D0-4EAB-94BB-412BA093BCB7}" type="pres">
      <dgm:prSet presAssocID="{8FDD0A44-E09B-4C7B-88B2-3AD14580B595}" presName="sibTrans" presStyleCnt="0"/>
      <dgm:spPr/>
    </dgm:pt>
    <dgm:pt modelId="{DB63BBB8-C9A2-4503-A7CE-46100CCFE5CB}" type="pres">
      <dgm:prSet presAssocID="{23175ACD-B460-47B1-907F-497A408734B1}" presName="node" presStyleLbl="node1" presStyleIdx="1" presStyleCnt="6">
        <dgm:presLayoutVars>
          <dgm:bulletEnabled val="1"/>
        </dgm:presLayoutVars>
      </dgm:prSet>
      <dgm:spPr/>
    </dgm:pt>
    <dgm:pt modelId="{07F5C538-6B6D-4E24-ADAC-ABAEF45C56E7}" type="pres">
      <dgm:prSet presAssocID="{2D7AB0FB-0A29-44FF-B60A-4DFD5E6C0F5F}" presName="sibTrans" presStyleCnt="0"/>
      <dgm:spPr/>
    </dgm:pt>
    <dgm:pt modelId="{6BD46FA9-C268-4BC9-9539-9E786CE3EC8B}" type="pres">
      <dgm:prSet presAssocID="{2F52DF27-45B1-40B4-931C-E01F2F46D9C1}" presName="node" presStyleLbl="node1" presStyleIdx="2" presStyleCnt="6">
        <dgm:presLayoutVars>
          <dgm:bulletEnabled val="1"/>
        </dgm:presLayoutVars>
      </dgm:prSet>
      <dgm:spPr/>
    </dgm:pt>
    <dgm:pt modelId="{530E2572-D523-44B8-890C-3C780E0DD008}" type="pres">
      <dgm:prSet presAssocID="{4F3D4EE8-83E3-408C-9F7D-54A9061E5F88}" presName="sibTrans" presStyleCnt="0"/>
      <dgm:spPr/>
    </dgm:pt>
    <dgm:pt modelId="{9D098910-64E3-4B00-9AE0-6F8E6BDB5C45}" type="pres">
      <dgm:prSet presAssocID="{34D35873-0E26-4A57-8AB6-2A43FFD8D870}" presName="node" presStyleLbl="node1" presStyleIdx="3" presStyleCnt="6">
        <dgm:presLayoutVars>
          <dgm:bulletEnabled val="1"/>
        </dgm:presLayoutVars>
      </dgm:prSet>
      <dgm:spPr/>
    </dgm:pt>
    <dgm:pt modelId="{B075EF6A-FDD5-484A-AF70-2E58ED24310C}" type="pres">
      <dgm:prSet presAssocID="{0441038C-10FE-4A7C-974E-EB7A901D6415}" presName="sibTrans" presStyleCnt="0"/>
      <dgm:spPr/>
    </dgm:pt>
    <dgm:pt modelId="{C78F25B9-46F2-46A6-AAE0-7251971BCB09}" type="pres">
      <dgm:prSet presAssocID="{1C6F4E55-1F73-4D07-9820-0441BA1459D7}" presName="node" presStyleLbl="node1" presStyleIdx="4" presStyleCnt="6">
        <dgm:presLayoutVars>
          <dgm:bulletEnabled val="1"/>
        </dgm:presLayoutVars>
      </dgm:prSet>
      <dgm:spPr/>
    </dgm:pt>
    <dgm:pt modelId="{9C971382-8AEC-4374-9A9B-76D276BBF150}" type="pres">
      <dgm:prSet presAssocID="{A8761A17-AF42-485A-BF98-8CEFC7FEC355}" presName="sibTrans" presStyleCnt="0"/>
      <dgm:spPr/>
    </dgm:pt>
    <dgm:pt modelId="{E827845D-8663-4C61-8FD9-062472D36DDB}" type="pres">
      <dgm:prSet presAssocID="{8DB78661-C22C-4ABC-8D53-B8B835C56C4F}" presName="node" presStyleLbl="node1" presStyleIdx="5" presStyleCnt="6">
        <dgm:presLayoutVars>
          <dgm:bulletEnabled val="1"/>
        </dgm:presLayoutVars>
      </dgm:prSet>
      <dgm:spPr/>
    </dgm:pt>
  </dgm:ptLst>
  <dgm:cxnLst>
    <dgm:cxn modelId="{22A57A1D-5E21-4824-89F0-B5E5F9242590}" srcId="{42DB46F6-5F53-4EC9-A46C-F034D9DB0964}" destId="{1C6F4E55-1F73-4D07-9820-0441BA1459D7}" srcOrd="4" destOrd="0" parTransId="{30F95ACC-80A0-44FE-A931-2E4EF6CC1ABE}" sibTransId="{A8761A17-AF42-485A-BF98-8CEFC7FEC355}"/>
    <dgm:cxn modelId="{9601CA2F-C8CD-4F9E-A9DF-3E6776C67ACE}" type="presOf" srcId="{23175ACD-B460-47B1-907F-497A408734B1}" destId="{DB63BBB8-C9A2-4503-A7CE-46100CCFE5CB}" srcOrd="0" destOrd="0" presId="urn:microsoft.com/office/officeart/2005/8/layout/default"/>
    <dgm:cxn modelId="{271E2D30-0DD5-4FD8-8119-7ACAA428203C}" type="presOf" srcId="{8DB78661-C22C-4ABC-8D53-B8B835C56C4F}" destId="{E827845D-8663-4C61-8FD9-062472D36DDB}" srcOrd="0" destOrd="0" presId="urn:microsoft.com/office/officeart/2005/8/layout/default"/>
    <dgm:cxn modelId="{17056C32-543B-415B-9C66-DB9557FE93C3}" srcId="{1C6F4E55-1F73-4D07-9820-0441BA1459D7}" destId="{6EBF04CD-DD98-48DA-B92E-007F0FEA986B}" srcOrd="0" destOrd="0" parTransId="{87A91930-F3B1-48D4-B9EF-F1F085443AAE}" sibTransId="{5A094809-B3CA-4D16-9BB8-E306BFE95039}"/>
    <dgm:cxn modelId="{453DB83B-2CF5-428F-8A32-CF5BC505AADC}" srcId="{42DB46F6-5F53-4EC9-A46C-F034D9DB0964}" destId="{23175ACD-B460-47B1-907F-497A408734B1}" srcOrd="1" destOrd="0" parTransId="{3CF425A9-AE37-49D9-8C6B-848B2704C819}" sibTransId="{2D7AB0FB-0A29-44FF-B60A-4DFD5E6C0F5F}"/>
    <dgm:cxn modelId="{3859E363-EEEB-443C-8E02-6B6219BDBAA0}" srcId="{2F52DF27-45B1-40B4-931C-E01F2F46D9C1}" destId="{B5E8D640-D2AE-4A36-9C1F-0B842B7BB9DB}" srcOrd="0" destOrd="0" parTransId="{9317FCFA-448D-485A-A515-C9E1FF09174F}" sibTransId="{20B0D165-966D-4A01-81F8-2DE9D7B28B25}"/>
    <dgm:cxn modelId="{F2416A4A-C17D-4E02-9A40-66AC264D257D}" srcId="{8DB78661-C22C-4ABC-8D53-B8B835C56C4F}" destId="{613A97B1-F300-4A27-A9EF-4E96B5E9A250}" srcOrd="0" destOrd="0" parTransId="{7F5B0069-5734-4ACE-AADD-B1028EF8F542}" sibTransId="{04229689-7981-471E-8E3C-576AB5B8A7FF}"/>
    <dgm:cxn modelId="{0FD0074E-99EA-4C72-B1C6-043BF465E7B2}" srcId="{42DB46F6-5F53-4EC9-A46C-F034D9DB0964}" destId="{758412D6-D291-4A55-922B-B8D7B19ACE9B}" srcOrd="0" destOrd="0" parTransId="{57E42644-B75D-41B9-B89E-D8145BB362E0}" sibTransId="{8FDD0A44-E09B-4C7B-88B2-3AD14580B595}"/>
    <dgm:cxn modelId="{B57A6D4F-B04E-4F2F-A359-AB384BA8B0B9}" srcId="{42DB46F6-5F53-4EC9-A46C-F034D9DB0964}" destId="{2F52DF27-45B1-40B4-931C-E01F2F46D9C1}" srcOrd="2" destOrd="0" parTransId="{15913B23-4135-4B46-B17F-B0B0E90B9B34}" sibTransId="{4F3D4EE8-83E3-408C-9F7D-54A9061E5F88}"/>
    <dgm:cxn modelId="{08011072-B682-408C-B0A8-C1EC6EE6968C}" srcId="{758412D6-D291-4A55-922B-B8D7B19ACE9B}" destId="{58B50CFB-9F05-44FB-8B1E-ABF91C20DECD}" srcOrd="0" destOrd="0" parTransId="{DE4D9D49-C9F9-494A-9E7B-AE7F99D81421}" sibTransId="{A1F0A619-F650-4BC8-AC90-D4A10227C917}"/>
    <dgm:cxn modelId="{96AE3555-7DED-4332-9738-8BA4B009DA45}" srcId="{34D35873-0E26-4A57-8AB6-2A43FFD8D870}" destId="{BE046ED4-757B-4BCD-B408-936EE445B914}" srcOrd="0" destOrd="0" parTransId="{96C2E00F-6E8C-4D91-8408-B70CAC23D019}" sibTransId="{96BC0202-9519-4F9F-94BA-021F67B6AE64}"/>
    <dgm:cxn modelId="{2F4C2283-8A29-40D7-8B80-3F860AB88824}" type="presOf" srcId="{758412D6-D291-4A55-922B-B8D7B19ACE9B}" destId="{449430D2-CDBD-46C7-A0B9-F95B959FCE9E}" srcOrd="0" destOrd="0" presId="urn:microsoft.com/office/officeart/2005/8/layout/default"/>
    <dgm:cxn modelId="{A77C3985-3DCE-4E57-832A-613D65B73889}" type="presOf" srcId="{58B50CFB-9F05-44FB-8B1E-ABF91C20DECD}" destId="{449430D2-CDBD-46C7-A0B9-F95B959FCE9E}" srcOrd="0" destOrd="1" presId="urn:microsoft.com/office/officeart/2005/8/layout/default"/>
    <dgm:cxn modelId="{F4B87088-668D-4836-945E-093B22A1FFE4}" type="presOf" srcId="{42DB46F6-5F53-4EC9-A46C-F034D9DB0964}" destId="{7FA554B8-8738-4F20-B68A-776B14CB5148}" srcOrd="0" destOrd="0" presId="urn:microsoft.com/office/officeart/2005/8/layout/default"/>
    <dgm:cxn modelId="{F79D8F8E-EB63-46E8-BE18-BC24A3197F67}" type="presOf" srcId="{9B1C467E-72B2-4DCF-A00B-5396A755F43B}" destId="{9D098910-64E3-4B00-9AE0-6F8E6BDB5C45}" srcOrd="0" destOrd="2" presId="urn:microsoft.com/office/officeart/2005/8/layout/default"/>
    <dgm:cxn modelId="{87604D92-F17F-408A-B1DC-13DB31E4C6E4}" type="presOf" srcId="{34D35873-0E26-4A57-8AB6-2A43FFD8D870}" destId="{9D098910-64E3-4B00-9AE0-6F8E6BDB5C45}" srcOrd="0" destOrd="0" presId="urn:microsoft.com/office/officeart/2005/8/layout/default"/>
    <dgm:cxn modelId="{BFC261A8-CDF5-4A6A-B5CF-C52B95DB8473}" srcId="{42DB46F6-5F53-4EC9-A46C-F034D9DB0964}" destId="{8DB78661-C22C-4ABC-8D53-B8B835C56C4F}" srcOrd="5" destOrd="0" parTransId="{74D9ECE9-5373-44A0-B282-F26715BB5294}" sibTransId="{85DEAFD6-49A8-458E-8B6F-4FBD8931A1E7}"/>
    <dgm:cxn modelId="{7EA9AAB1-87FE-416F-B7C0-26C2D529D55E}" srcId="{23175ACD-B460-47B1-907F-497A408734B1}" destId="{A2C93826-32BB-4F29-BD66-C0E653C58BA6}" srcOrd="0" destOrd="0" parTransId="{5328E02B-C8EB-4F7A-8BE8-4BEDB356145A}" sibTransId="{5A0E78E2-355A-4F77-A080-56E0B622DE2F}"/>
    <dgm:cxn modelId="{F4EF16C7-110B-495E-AC1B-D30C934B2478}" type="presOf" srcId="{A2C93826-32BB-4F29-BD66-C0E653C58BA6}" destId="{DB63BBB8-C9A2-4503-A7CE-46100CCFE5CB}" srcOrd="0" destOrd="1" presId="urn:microsoft.com/office/officeart/2005/8/layout/default"/>
    <dgm:cxn modelId="{1CD8C1C8-B376-43CF-8EAA-77C95F9950F8}" type="presOf" srcId="{613A97B1-F300-4A27-A9EF-4E96B5E9A250}" destId="{E827845D-8663-4C61-8FD9-062472D36DDB}" srcOrd="0" destOrd="1" presId="urn:microsoft.com/office/officeart/2005/8/layout/default"/>
    <dgm:cxn modelId="{63E927D0-CE61-4025-967E-E6A8BF033EE8}" type="presOf" srcId="{BE046ED4-757B-4BCD-B408-936EE445B914}" destId="{9D098910-64E3-4B00-9AE0-6F8E6BDB5C45}" srcOrd="0" destOrd="1" presId="urn:microsoft.com/office/officeart/2005/8/layout/default"/>
    <dgm:cxn modelId="{80D01AE1-2799-4BD2-B140-36FC70922438}" type="presOf" srcId="{1C6F4E55-1F73-4D07-9820-0441BA1459D7}" destId="{C78F25B9-46F2-46A6-AAE0-7251971BCB09}" srcOrd="0" destOrd="0" presId="urn:microsoft.com/office/officeart/2005/8/layout/default"/>
    <dgm:cxn modelId="{592F41E1-0E7A-4297-A32A-100A471FD0E2}" type="presOf" srcId="{B5E8D640-D2AE-4A36-9C1F-0B842B7BB9DB}" destId="{6BD46FA9-C268-4BC9-9539-9E786CE3EC8B}" srcOrd="0" destOrd="1" presId="urn:microsoft.com/office/officeart/2005/8/layout/default"/>
    <dgm:cxn modelId="{C1D4A0EE-1AAC-4B67-AF0E-9619CF7F8C06}" type="presOf" srcId="{6EBF04CD-DD98-48DA-B92E-007F0FEA986B}" destId="{C78F25B9-46F2-46A6-AAE0-7251971BCB09}" srcOrd="0" destOrd="1" presId="urn:microsoft.com/office/officeart/2005/8/layout/default"/>
    <dgm:cxn modelId="{2ED8F6EF-9F12-4D48-AA83-3BCD7F758531}" srcId="{BE046ED4-757B-4BCD-B408-936EE445B914}" destId="{9B1C467E-72B2-4DCF-A00B-5396A755F43B}" srcOrd="0" destOrd="0" parTransId="{575DF50A-A82D-4ABB-934B-D4142D93B965}" sibTransId="{D17EA634-8B78-42D3-9671-795754C949CC}"/>
    <dgm:cxn modelId="{6F43C6FD-532F-4C44-926B-4A8986D5B369}" type="presOf" srcId="{2F52DF27-45B1-40B4-931C-E01F2F46D9C1}" destId="{6BD46FA9-C268-4BC9-9539-9E786CE3EC8B}" srcOrd="0" destOrd="0" presId="urn:microsoft.com/office/officeart/2005/8/layout/default"/>
    <dgm:cxn modelId="{E63FA8FF-376F-4D59-8A3E-D687DB3C222C}" srcId="{42DB46F6-5F53-4EC9-A46C-F034D9DB0964}" destId="{34D35873-0E26-4A57-8AB6-2A43FFD8D870}" srcOrd="3" destOrd="0" parTransId="{19444B79-3A14-4211-A3FF-CA6324E5B6B1}" sibTransId="{0441038C-10FE-4A7C-974E-EB7A901D6415}"/>
    <dgm:cxn modelId="{DB1C542E-8357-4A95-98AB-8F3B3C3C8A6F}" type="presParOf" srcId="{7FA554B8-8738-4F20-B68A-776B14CB5148}" destId="{449430D2-CDBD-46C7-A0B9-F95B959FCE9E}" srcOrd="0" destOrd="0" presId="urn:microsoft.com/office/officeart/2005/8/layout/default"/>
    <dgm:cxn modelId="{93690EF0-20B6-4007-922E-C4310B0E5FC5}" type="presParOf" srcId="{7FA554B8-8738-4F20-B68A-776B14CB5148}" destId="{4AFA7E00-43D0-4EAB-94BB-412BA093BCB7}" srcOrd="1" destOrd="0" presId="urn:microsoft.com/office/officeart/2005/8/layout/default"/>
    <dgm:cxn modelId="{D28B6888-45D9-4613-AF37-AD6CFCC8B38F}" type="presParOf" srcId="{7FA554B8-8738-4F20-B68A-776B14CB5148}" destId="{DB63BBB8-C9A2-4503-A7CE-46100CCFE5CB}" srcOrd="2" destOrd="0" presId="urn:microsoft.com/office/officeart/2005/8/layout/default"/>
    <dgm:cxn modelId="{BAB53E82-918D-4DE5-9F83-707E1A4215C9}" type="presParOf" srcId="{7FA554B8-8738-4F20-B68A-776B14CB5148}" destId="{07F5C538-6B6D-4E24-ADAC-ABAEF45C56E7}" srcOrd="3" destOrd="0" presId="urn:microsoft.com/office/officeart/2005/8/layout/default"/>
    <dgm:cxn modelId="{969160E0-A748-4F55-8882-5452FDE094FE}" type="presParOf" srcId="{7FA554B8-8738-4F20-B68A-776B14CB5148}" destId="{6BD46FA9-C268-4BC9-9539-9E786CE3EC8B}" srcOrd="4" destOrd="0" presId="urn:microsoft.com/office/officeart/2005/8/layout/default"/>
    <dgm:cxn modelId="{28B48360-0379-4907-A0ED-82DFF4497AFA}" type="presParOf" srcId="{7FA554B8-8738-4F20-B68A-776B14CB5148}" destId="{530E2572-D523-44B8-890C-3C780E0DD008}" srcOrd="5" destOrd="0" presId="urn:microsoft.com/office/officeart/2005/8/layout/default"/>
    <dgm:cxn modelId="{18FC5972-370C-4898-89C7-771B6CA2B56F}" type="presParOf" srcId="{7FA554B8-8738-4F20-B68A-776B14CB5148}" destId="{9D098910-64E3-4B00-9AE0-6F8E6BDB5C45}" srcOrd="6" destOrd="0" presId="urn:microsoft.com/office/officeart/2005/8/layout/default"/>
    <dgm:cxn modelId="{3A5644D9-759A-4135-8BAD-E1037203EE1E}" type="presParOf" srcId="{7FA554B8-8738-4F20-B68A-776B14CB5148}" destId="{B075EF6A-FDD5-484A-AF70-2E58ED24310C}" srcOrd="7" destOrd="0" presId="urn:microsoft.com/office/officeart/2005/8/layout/default"/>
    <dgm:cxn modelId="{95061844-65E3-437D-996E-CB4FE67BA346}" type="presParOf" srcId="{7FA554B8-8738-4F20-B68A-776B14CB5148}" destId="{C78F25B9-46F2-46A6-AAE0-7251971BCB09}" srcOrd="8" destOrd="0" presId="urn:microsoft.com/office/officeart/2005/8/layout/default"/>
    <dgm:cxn modelId="{7355EB2B-5441-4951-9088-B3863A19F061}" type="presParOf" srcId="{7FA554B8-8738-4F20-B68A-776B14CB5148}" destId="{9C971382-8AEC-4374-9A9B-76D276BBF150}" srcOrd="9" destOrd="0" presId="urn:microsoft.com/office/officeart/2005/8/layout/default"/>
    <dgm:cxn modelId="{627901C4-BF73-40BC-8C68-846D35465A6F}" type="presParOf" srcId="{7FA554B8-8738-4F20-B68A-776B14CB5148}" destId="{E827845D-8663-4C61-8FD9-062472D36DDB}"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AU" sz="2400"/>
            <a:t>Give two examples of non-SARGable expressions.</a:t>
          </a:r>
          <a:endParaRPr lang="en-US" sz="240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a:t>Explain three hints we can use to mitigate Parameter Sniffing.</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custLinFactNeighborX="-16530" custLinFactNeighborY="-5278">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8A5AD0-9FAB-45BA-9A66-A08C6FCE242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F6FC0BA-7F87-4865-9428-201E1878EF35}">
      <dgm:prSet/>
      <dgm:spPr/>
      <dgm:t>
        <a:bodyPr/>
        <a:lstStyle/>
        <a:p>
          <a:r>
            <a:rPr lang="en-US" baseline="0"/>
            <a:t>Functions</a:t>
          </a:r>
          <a:endParaRPr lang="en-US"/>
        </a:p>
      </dgm:t>
    </dgm:pt>
    <dgm:pt modelId="{3F0ED86D-1A46-483B-90C3-3A31EF1D4C5F}" type="parTrans" cxnId="{9A0D84A4-46CD-47E5-8874-AE2086051F7F}">
      <dgm:prSet/>
      <dgm:spPr/>
      <dgm:t>
        <a:bodyPr/>
        <a:lstStyle/>
        <a:p>
          <a:endParaRPr lang="en-US"/>
        </a:p>
      </dgm:t>
    </dgm:pt>
    <dgm:pt modelId="{7C058759-F975-49BF-AAE4-457116DDC8EC}" type="sibTrans" cxnId="{9A0D84A4-46CD-47E5-8874-AE2086051F7F}">
      <dgm:prSet/>
      <dgm:spPr/>
      <dgm:t>
        <a:bodyPr/>
        <a:lstStyle/>
        <a:p>
          <a:endParaRPr lang="en-US"/>
        </a:p>
      </dgm:t>
    </dgm:pt>
    <dgm:pt modelId="{BDB49657-FD8C-4FEE-A356-FBCF8959E5D7}">
      <dgm:prSet/>
      <dgm:spPr/>
      <dgm:t>
        <a:bodyPr/>
        <a:lstStyle/>
        <a:p>
          <a:pPr>
            <a:buNone/>
          </a:pPr>
          <a:r>
            <a:rPr lang="pt-PT" baseline="0"/>
            <a:t>WHERE ABS(ProductID) = 771</a:t>
          </a:r>
          <a:endParaRPr lang="en-US"/>
        </a:p>
      </dgm:t>
    </dgm:pt>
    <dgm:pt modelId="{88E5F92E-0256-4F48-A312-449E94AB2FEB}" type="parTrans" cxnId="{ACE8901A-7036-4E78-95A5-24BDA8CD8521}">
      <dgm:prSet/>
      <dgm:spPr/>
      <dgm:t>
        <a:bodyPr/>
        <a:lstStyle/>
        <a:p>
          <a:endParaRPr lang="en-US"/>
        </a:p>
      </dgm:t>
    </dgm:pt>
    <dgm:pt modelId="{0BB1176C-96B8-4ED2-8EE9-4EC4F81A0FBF}" type="sibTrans" cxnId="{ACE8901A-7036-4E78-95A5-24BDA8CD8521}">
      <dgm:prSet/>
      <dgm:spPr/>
      <dgm:t>
        <a:bodyPr/>
        <a:lstStyle/>
        <a:p>
          <a:endParaRPr lang="en-US"/>
        </a:p>
      </dgm:t>
    </dgm:pt>
    <dgm:pt modelId="{5EED9969-06D4-4598-95E4-9CDD9F3D745C}">
      <dgm:prSet/>
      <dgm:spPr/>
      <dgm:t>
        <a:bodyPr/>
        <a:lstStyle/>
        <a:p>
          <a:pPr>
            <a:buNone/>
          </a:pPr>
          <a:r>
            <a:rPr lang="pt-PT" baseline="0"/>
            <a:t>WHERE UPPER(City) = “London”</a:t>
          </a:r>
          <a:endParaRPr lang="en-US"/>
        </a:p>
      </dgm:t>
    </dgm:pt>
    <dgm:pt modelId="{C6FFAD30-E2BE-4808-88C5-F4C469FC6A0E}" type="parTrans" cxnId="{400C34D5-B847-4EF4-A2F7-53BA390E8C23}">
      <dgm:prSet/>
      <dgm:spPr/>
      <dgm:t>
        <a:bodyPr/>
        <a:lstStyle/>
        <a:p>
          <a:endParaRPr lang="en-US"/>
        </a:p>
      </dgm:t>
    </dgm:pt>
    <dgm:pt modelId="{B8C914DC-F23E-4D4F-A0E2-029ED47FFF20}" type="sibTrans" cxnId="{400C34D5-B847-4EF4-A2F7-53BA390E8C23}">
      <dgm:prSet/>
      <dgm:spPr/>
      <dgm:t>
        <a:bodyPr/>
        <a:lstStyle/>
        <a:p>
          <a:endParaRPr lang="en-US"/>
        </a:p>
      </dgm:t>
    </dgm:pt>
    <dgm:pt modelId="{A45CC2B4-65DA-4497-9043-6062864C8887}">
      <dgm:prSet/>
      <dgm:spPr/>
      <dgm:t>
        <a:bodyPr/>
        <a:lstStyle/>
        <a:p>
          <a:pPr>
            <a:buNone/>
          </a:pPr>
          <a:r>
            <a:rPr lang="pt-PT" baseline="0"/>
            <a:t>WHERE UPPER(surname) = “SMITHS”</a:t>
          </a:r>
          <a:endParaRPr lang="en-US"/>
        </a:p>
      </dgm:t>
    </dgm:pt>
    <dgm:pt modelId="{F1925C37-55DD-47CD-B13C-B9CBB0BC3191}" type="parTrans" cxnId="{AA10A189-4B04-430A-95BA-5BF559C19F6D}">
      <dgm:prSet/>
      <dgm:spPr/>
      <dgm:t>
        <a:bodyPr/>
        <a:lstStyle/>
        <a:p>
          <a:endParaRPr lang="en-US"/>
        </a:p>
      </dgm:t>
    </dgm:pt>
    <dgm:pt modelId="{775210E0-BB31-4321-8049-30755CF48C39}" type="sibTrans" cxnId="{AA10A189-4B04-430A-95BA-5BF559C19F6D}">
      <dgm:prSet/>
      <dgm:spPr/>
      <dgm:t>
        <a:bodyPr/>
        <a:lstStyle/>
        <a:p>
          <a:endParaRPr lang="en-US"/>
        </a:p>
      </dgm:t>
    </dgm:pt>
    <dgm:pt modelId="{04BF16B3-1D2B-498A-8B6F-4FBE2372B31C}">
      <dgm:prSet/>
      <dgm:spPr/>
      <dgm:t>
        <a:bodyPr/>
        <a:lstStyle/>
        <a:p>
          <a:r>
            <a:rPr lang="en-US" baseline="0"/>
            <a:t>Calculations / Expressions</a:t>
          </a:r>
          <a:endParaRPr lang="en-US"/>
        </a:p>
      </dgm:t>
    </dgm:pt>
    <dgm:pt modelId="{A84A9AB5-3F93-4178-B12C-942CE6D65EA8}" type="parTrans" cxnId="{B975D3EF-D953-4B01-8A76-8D68E7016E66}">
      <dgm:prSet/>
      <dgm:spPr/>
      <dgm:t>
        <a:bodyPr/>
        <a:lstStyle/>
        <a:p>
          <a:endParaRPr lang="en-US"/>
        </a:p>
      </dgm:t>
    </dgm:pt>
    <dgm:pt modelId="{EBB07344-2360-4AFB-9763-A8AA5DD06BEE}" type="sibTrans" cxnId="{B975D3EF-D953-4B01-8A76-8D68E7016E66}">
      <dgm:prSet/>
      <dgm:spPr/>
      <dgm:t>
        <a:bodyPr/>
        <a:lstStyle/>
        <a:p>
          <a:endParaRPr lang="en-US"/>
        </a:p>
      </dgm:t>
    </dgm:pt>
    <dgm:pt modelId="{C4F5FBC0-74A1-4BC0-9B2D-3FBE411AE2D1}">
      <dgm:prSet/>
      <dgm:spPr/>
      <dgm:t>
        <a:bodyPr/>
        <a:lstStyle/>
        <a:p>
          <a:pPr>
            <a:buFont typeface="Arial" panose="020B0604020202020204" pitchFamily="34" charset="0"/>
            <a:buNone/>
          </a:pPr>
          <a:r>
            <a:rPr lang="pt-PT" baseline="0"/>
            <a:t>WHERE Sales.Price + Sales.Tax &gt; 100 </a:t>
          </a:r>
          <a:endParaRPr lang="en-US"/>
        </a:p>
      </dgm:t>
    </dgm:pt>
    <dgm:pt modelId="{58D76D44-E7B3-42F0-9A28-D2C68C271042}" type="parTrans" cxnId="{1CA6AE14-542F-46B5-AE56-A45CCB11A617}">
      <dgm:prSet/>
      <dgm:spPr/>
      <dgm:t>
        <a:bodyPr/>
        <a:lstStyle/>
        <a:p>
          <a:endParaRPr lang="en-US"/>
        </a:p>
      </dgm:t>
    </dgm:pt>
    <dgm:pt modelId="{AFC364D7-9279-4993-B5C1-B6BBFD24A342}" type="sibTrans" cxnId="{1CA6AE14-542F-46B5-AE56-A45CCB11A617}">
      <dgm:prSet/>
      <dgm:spPr/>
      <dgm:t>
        <a:bodyPr/>
        <a:lstStyle/>
        <a:p>
          <a:endParaRPr lang="en-US"/>
        </a:p>
      </dgm:t>
    </dgm:pt>
    <dgm:pt modelId="{BD5BF98A-3F25-4947-ABBE-DBF42D188DDA}">
      <dgm:prSet/>
      <dgm:spPr/>
      <dgm:t>
        <a:bodyPr/>
        <a:lstStyle/>
        <a:p>
          <a:pPr>
            <a:buNone/>
          </a:pPr>
          <a:r>
            <a:rPr lang="pt-PT" baseline="0"/>
            <a:t>WHERE </a:t>
          </a:r>
          <a:r>
            <a:rPr lang="en-US" baseline="0"/>
            <a:t>Sales.Price * (1 + Sales.TaxRate) &gt; 100</a:t>
          </a:r>
          <a:endParaRPr lang="en-US"/>
        </a:p>
      </dgm:t>
    </dgm:pt>
    <dgm:pt modelId="{60671C07-A3E1-4743-911C-86EE74E9D625}" type="parTrans" cxnId="{8E8BFC9C-AB0F-4F41-AF83-5C565D68DD35}">
      <dgm:prSet/>
      <dgm:spPr/>
      <dgm:t>
        <a:bodyPr/>
        <a:lstStyle/>
        <a:p>
          <a:endParaRPr lang="en-US"/>
        </a:p>
      </dgm:t>
    </dgm:pt>
    <dgm:pt modelId="{4816F6F2-6156-403B-A752-70F64A3C8436}" type="sibTrans" cxnId="{8E8BFC9C-AB0F-4F41-AF83-5C565D68DD35}">
      <dgm:prSet/>
      <dgm:spPr/>
      <dgm:t>
        <a:bodyPr/>
        <a:lstStyle/>
        <a:p>
          <a:endParaRPr lang="en-US"/>
        </a:p>
      </dgm:t>
    </dgm:pt>
    <dgm:pt modelId="{44F63C97-9089-4678-BF62-8C1EF3F68FEC}">
      <dgm:prSet/>
      <dgm:spPr/>
      <dgm:t>
        <a:bodyPr/>
        <a:lstStyle/>
        <a:p>
          <a:r>
            <a:rPr lang="en-US" baseline="0"/>
            <a:t>Using leading wildcard with LIKE operator</a:t>
          </a:r>
          <a:endParaRPr lang="en-US"/>
        </a:p>
      </dgm:t>
    </dgm:pt>
    <dgm:pt modelId="{7F85BCCD-585E-43E4-984C-5B8D20812E8C}" type="parTrans" cxnId="{2D6DB00A-D38A-4222-9C50-4FB734E64748}">
      <dgm:prSet/>
      <dgm:spPr/>
      <dgm:t>
        <a:bodyPr/>
        <a:lstStyle/>
        <a:p>
          <a:endParaRPr lang="en-US"/>
        </a:p>
      </dgm:t>
    </dgm:pt>
    <dgm:pt modelId="{B27586D4-0673-43FC-BAFE-EECDBEB83026}" type="sibTrans" cxnId="{2D6DB00A-D38A-4222-9C50-4FB734E64748}">
      <dgm:prSet/>
      <dgm:spPr/>
      <dgm:t>
        <a:bodyPr/>
        <a:lstStyle/>
        <a:p>
          <a:endParaRPr lang="en-US"/>
        </a:p>
      </dgm:t>
    </dgm:pt>
    <dgm:pt modelId="{860C9328-3038-48D8-99AD-81876FF1217F}">
      <dgm:prSet/>
      <dgm:spPr/>
      <dgm:t>
        <a:bodyPr/>
        <a:lstStyle/>
        <a:p>
          <a:pPr>
            <a:buFont typeface="Arial" panose="020B0604020202020204" pitchFamily="34" charset="0"/>
            <a:buNone/>
          </a:pPr>
          <a:r>
            <a:rPr lang="pt-PT" baseline="0"/>
            <a:t>WHERE </a:t>
          </a:r>
          <a:r>
            <a:rPr lang="en-US" baseline="0"/>
            <a:t>Employee.FirstName LIKE '%L%' is non-SARGable</a:t>
          </a:r>
          <a:endParaRPr lang="en-US"/>
        </a:p>
      </dgm:t>
    </dgm:pt>
    <dgm:pt modelId="{C75008F5-8C0F-41AF-B52A-2D1DAAB0CDC0}" type="parTrans" cxnId="{EDA025A0-90CD-4959-93B8-A4B81B7BDC38}">
      <dgm:prSet/>
      <dgm:spPr/>
      <dgm:t>
        <a:bodyPr/>
        <a:lstStyle/>
        <a:p>
          <a:endParaRPr lang="en-US"/>
        </a:p>
      </dgm:t>
    </dgm:pt>
    <dgm:pt modelId="{1A9376F5-AAE7-48C2-9CF0-2736A62F0B66}" type="sibTrans" cxnId="{EDA025A0-90CD-4959-93B8-A4B81B7BDC38}">
      <dgm:prSet/>
      <dgm:spPr/>
      <dgm:t>
        <a:bodyPr/>
        <a:lstStyle/>
        <a:p>
          <a:endParaRPr lang="en-US"/>
        </a:p>
      </dgm:t>
    </dgm:pt>
    <dgm:pt modelId="{B976D96A-628B-435F-9F74-B781C9DA2611}">
      <dgm:prSet/>
      <dgm:spPr/>
      <dgm:t>
        <a:bodyPr/>
        <a:lstStyle/>
        <a:p>
          <a:pPr>
            <a:buNone/>
          </a:pPr>
          <a:r>
            <a:rPr lang="pt-PT" baseline="0"/>
            <a:t>WHERE </a:t>
          </a:r>
          <a:r>
            <a:rPr lang="en-US" baseline="0"/>
            <a:t>Employee.FirstName LIKE ‘L%' is SARGable</a:t>
          </a:r>
          <a:endParaRPr lang="en-US"/>
        </a:p>
      </dgm:t>
    </dgm:pt>
    <dgm:pt modelId="{BF67A482-41DE-41C8-BFFD-593EA51D1312}" type="parTrans" cxnId="{28048809-B4FF-4FEC-8DBF-5B4D380C6E78}">
      <dgm:prSet/>
      <dgm:spPr/>
      <dgm:t>
        <a:bodyPr/>
        <a:lstStyle/>
        <a:p>
          <a:endParaRPr lang="en-US"/>
        </a:p>
      </dgm:t>
    </dgm:pt>
    <dgm:pt modelId="{8C16E591-A02A-415D-9D97-4FE2A686B66B}" type="sibTrans" cxnId="{28048809-B4FF-4FEC-8DBF-5B4D380C6E78}">
      <dgm:prSet/>
      <dgm:spPr/>
      <dgm:t>
        <a:bodyPr/>
        <a:lstStyle/>
        <a:p>
          <a:endParaRPr lang="en-US"/>
        </a:p>
      </dgm:t>
    </dgm:pt>
    <dgm:pt modelId="{3110B031-4F87-4DA8-B9CE-855C3E871359}" type="pres">
      <dgm:prSet presAssocID="{F98A5AD0-9FAB-45BA-9A66-A08C6FCE242C}" presName="linear" presStyleCnt="0">
        <dgm:presLayoutVars>
          <dgm:animLvl val="lvl"/>
          <dgm:resizeHandles val="exact"/>
        </dgm:presLayoutVars>
      </dgm:prSet>
      <dgm:spPr/>
    </dgm:pt>
    <dgm:pt modelId="{47A1D3D5-9E76-431B-936E-27ED74BE81DF}" type="pres">
      <dgm:prSet presAssocID="{1F6FC0BA-7F87-4865-9428-201E1878EF35}" presName="parentText" presStyleLbl="node1" presStyleIdx="0" presStyleCnt="3">
        <dgm:presLayoutVars>
          <dgm:chMax val="0"/>
          <dgm:bulletEnabled val="1"/>
        </dgm:presLayoutVars>
      </dgm:prSet>
      <dgm:spPr/>
    </dgm:pt>
    <dgm:pt modelId="{F7A5FA27-EE15-4B9D-A2D7-9E990BE5D34D}" type="pres">
      <dgm:prSet presAssocID="{1F6FC0BA-7F87-4865-9428-201E1878EF35}" presName="childText" presStyleLbl="revTx" presStyleIdx="0" presStyleCnt="3">
        <dgm:presLayoutVars>
          <dgm:bulletEnabled val="1"/>
        </dgm:presLayoutVars>
      </dgm:prSet>
      <dgm:spPr/>
    </dgm:pt>
    <dgm:pt modelId="{956BBA51-9DA8-4303-A3B1-EA57BE42EACE}" type="pres">
      <dgm:prSet presAssocID="{04BF16B3-1D2B-498A-8B6F-4FBE2372B31C}" presName="parentText" presStyleLbl="node1" presStyleIdx="1" presStyleCnt="3">
        <dgm:presLayoutVars>
          <dgm:chMax val="0"/>
          <dgm:bulletEnabled val="1"/>
        </dgm:presLayoutVars>
      </dgm:prSet>
      <dgm:spPr/>
    </dgm:pt>
    <dgm:pt modelId="{6551B31D-494C-4F3A-841C-6AC70EDCB3CF}" type="pres">
      <dgm:prSet presAssocID="{04BF16B3-1D2B-498A-8B6F-4FBE2372B31C}" presName="childText" presStyleLbl="revTx" presStyleIdx="1" presStyleCnt="3">
        <dgm:presLayoutVars>
          <dgm:bulletEnabled val="1"/>
        </dgm:presLayoutVars>
      </dgm:prSet>
      <dgm:spPr/>
    </dgm:pt>
    <dgm:pt modelId="{DD34124C-D6F2-480B-9773-482ABC4EE9DD}" type="pres">
      <dgm:prSet presAssocID="{44F63C97-9089-4678-BF62-8C1EF3F68FEC}" presName="parentText" presStyleLbl="node1" presStyleIdx="2" presStyleCnt="3">
        <dgm:presLayoutVars>
          <dgm:chMax val="0"/>
          <dgm:bulletEnabled val="1"/>
        </dgm:presLayoutVars>
      </dgm:prSet>
      <dgm:spPr/>
    </dgm:pt>
    <dgm:pt modelId="{ADB56FBA-AB70-47DA-8A7F-C3C760D02163}" type="pres">
      <dgm:prSet presAssocID="{44F63C97-9089-4678-BF62-8C1EF3F68FEC}" presName="childText" presStyleLbl="revTx" presStyleIdx="2" presStyleCnt="3">
        <dgm:presLayoutVars>
          <dgm:bulletEnabled val="1"/>
        </dgm:presLayoutVars>
      </dgm:prSet>
      <dgm:spPr/>
    </dgm:pt>
  </dgm:ptLst>
  <dgm:cxnLst>
    <dgm:cxn modelId="{7FE27105-7F16-4137-A9BF-006DA280CC61}" type="presOf" srcId="{C4F5FBC0-74A1-4BC0-9B2D-3FBE411AE2D1}" destId="{6551B31D-494C-4F3A-841C-6AC70EDCB3CF}" srcOrd="0" destOrd="0" presId="urn:microsoft.com/office/officeart/2005/8/layout/vList2"/>
    <dgm:cxn modelId="{9D600309-976F-4408-AA27-04B1D5ADFD70}" type="presOf" srcId="{04BF16B3-1D2B-498A-8B6F-4FBE2372B31C}" destId="{956BBA51-9DA8-4303-A3B1-EA57BE42EACE}" srcOrd="0" destOrd="0" presId="urn:microsoft.com/office/officeart/2005/8/layout/vList2"/>
    <dgm:cxn modelId="{28048809-B4FF-4FEC-8DBF-5B4D380C6E78}" srcId="{44F63C97-9089-4678-BF62-8C1EF3F68FEC}" destId="{B976D96A-628B-435F-9F74-B781C9DA2611}" srcOrd="1" destOrd="0" parTransId="{BF67A482-41DE-41C8-BFFD-593EA51D1312}" sibTransId="{8C16E591-A02A-415D-9D97-4FE2A686B66B}"/>
    <dgm:cxn modelId="{2D6DB00A-D38A-4222-9C50-4FB734E64748}" srcId="{F98A5AD0-9FAB-45BA-9A66-A08C6FCE242C}" destId="{44F63C97-9089-4678-BF62-8C1EF3F68FEC}" srcOrd="2" destOrd="0" parTransId="{7F85BCCD-585E-43E4-984C-5B8D20812E8C}" sibTransId="{B27586D4-0673-43FC-BAFE-EECDBEB83026}"/>
    <dgm:cxn modelId="{1CA6AE14-542F-46B5-AE56-A45CCB11A617}" srcId="{04BF16B3-1D2B-498A-8B6F-4FBE2372B31C}" destId="{C4F5FBC0-74A1-4BC0-9B2D-3FBE411AE2D1}" srcOrd="0" destOrd="0" parTransId="{58D76D44-E7B3-42F0-9A28-D2C68C271042}" sibTransId="{AFC364D7-9279-4993-B5C1-B6BBFD24A342}"/>
    <dgm:cxn modelId="{ACE8901A-7036-4E78-95A5-24BDA8CD8521}" srcId="{1F6FC0BA-7F87-4865-9428-201E1878EF35}" destId="{BDB49657-FD8C-4FEE-A356-FBCF8959E5D7}" srcOrd="0" destOrd="0" parTransId="{88E5F92E-0256-4F48-A312-449E94AB2FEB}" sibTransId="{0BB1176C-96B8-4ED2-8EE9-4EC4F81A0FBF}"/>
    <dgm:cxn modelId="{F44CFB3B-E672-463C-8650-6A64E19CABB7}" type="presOf" srcId="{1F6FC0BA-7F87-4865-9428-201E1878EF35}" destId="{47A1D3D5-9E76-431B-936E-27ED74BE81DF}" srcOrd="0" destOrd="0" presId="urn:microsoft.com/office/officeart/2005/8/layout/vList2"/>
    <dgm:cxn modelId="{5A35B162-A348-4521-B2C0-74E72C8D19EF}" type="presOf" srcId="{B976D96A-628B-435F-9F74-B781C9DA2611}" destId="{ADB56FBA-AB70-47DA-8A7F-C3C760D02163}" srcOrd="0" destOrd="1" presId="urn:microsoft.com/office/officeart/2005/8/layout/vList2"/>
    <dgm:cxn modelId="{E72E3546-8A73-4EEB-977C-484872370E5A}" type="presOf" srcId="{F98A5AD0-9FAB-45BA-9A66-A08C6FCE242C}" destId="{3110B031-4F87-4DA8-B9CE-855C3E871359}" srcOrd="0" destOrd="0" presId="urn:microsoft.com/office/officeart/2005/8/layout/vList2"/>
    <dgm:cxn modelId="{BB8B4766-7019-43C9-B57D-D6E3E510AAEE}" type="presOf" srcId="{860C9328-3038-48D8-99AD-81876FF1217F}" destId="{ADB56FBA-AB70-47DA-8A7F-C3C760D02163}" srcOrd="0" destOrd="0" presId="urn:microsoft.com/office/officeart/2005/8/layout/vList2"/>
    <dgm:cxn modelId="{A0347650-F9D5-45A3-B1EC-5BC087ED80C8}" type="presOf" srcId="{5EED9969-06D4-4598-95E4-9CDD9F3D745C}" destId="{F7A5FA27-EE15-4B9D-A2D7-9E990BE5D34D}" srcOrd="0" destOrd="1" presId="urn:microsoft.com/office/officeart/2005/8/layout/vList2"/>
    <dgm:cxn modelId="{AA10A189-4B04-430A-95BA-5BF559C19F6D}" srcId="{1F6FC0BA-7F87-4865-9428-201E1878EF35}" destId="{A45CC2B4-65DA-4497-9043-6062864C8887}" srcOrd="2" destOrd="0" parTransId="{F1925C37-55DD-47CD-B13C-B9CBB0BC3191}" sibTransId="{775210E0-BB31-4321-8049-30755CF48C39}"/>
    <dgm:cxn modelId="{8E8BFC9C-AB0F-4F41-AF83-5C565D68DD35}" srcId="{04BF16B3-1D2B-498A-8B6F-4FBE2372B31C}" destId="{BD5BF98A-3F25-4947-ABBE-DBF42D188DDA}" srcOrd="1" destOrd="0" parTransId="{60671C07-A3E1-4743-911C-86EE74E9D625}" sibTransId="{4816F6F2-6156-403B-A752-70F64A3C8436}"/>
    <dgm:cxn modelId="{B981B59F-BC91-4869-B327-7734C94BC870}" type="presOf" srcId="{BDB49657-FD8C-4FEE-A356-FBCF8959E5D7}" destId="{F7A5FA27-EE15-4B9D-A2D7-9E990BE5D34D}" srcOrd="0" destOrd="0" presId="urn:microsoft.com/office/officeart/2005/8/layout/vList2"/>
    <dgm:cxn modelId="{EDA025A0-90CD-4959-93B8-A4B81B7BDC38}" srcId="{44F63C97-9089-4678-BF62-8C1EF3F68FEC}" destId="{860C9328-3038-48D8-99AD-81876FF1217F}" srcOrd="0" destOrd="0" parTransId="{C75008F5-8C0F-41AF-B52A-2D1DAAB0CDC0}" sibTransId="{1A9376F5-AAE7-48C2-9CF0-2736A62F0B66}"/>
    <dgm:cxn modelId="{9A0D84A4-46CD-47E5-8874-AE2086051F7F}" srcId="{F98A5AD0-9FAB-45BA-9A66-A08C6FCE242C}" destId="{1F6FC0BA-7F87-4865-9428-201E1878EF35}" srcOrd="0" destOrd="0" parTransId="{3F0ED86D-1A46-483B-90C3-3A31EF1D4C5F}" sibTransId="{7C058759-F975-49BF-AAE4-457116DDC8EC}"/>
    <dgm:cxn modelId="{771AF7AC-24A6-402B-8ADC-0DA88D49E0BA}" type="presOf" srcId="{A45CC2B4-65DA-4497-9043-6062864C8887}" destId="{F7A5FA27-EE15-4B9D-A2D7-9E990BE5D34D}" srcOrd="0" destOrd="2" presId="urn:microsoft.com/office/officeart/2005/8/layout/vList2"/>
    <dgm:cxn modelId="{9D9FC9B0-4FBB-479A-A9E7-7E282B7DB2B2}" type="presOf" srcId="{44F63C97-9089-4678-BF62-8C1EF3F68FEC}" destId="{DD34124C-D6F2-480B-9773-482ABC4EE9DD}" srcOrd="0" destOrd="0" presId="urn:microsoft.com/office/officeart/2005/8/layout/vList2"/>
    <dgm:cxn modelId="{400C34D5-B847-4EF4-A2F7-53BA390E8C23}" srcId="{1F6FC0BA-7F87-4865-9428-201E1878EF35}" destId="{5EED9969-06D4-4598-95E4-9CDD9F3D745C}" srcOrd="1" destOrd="0" parTransId="{C6FFAD30-E2BE-4808-88C5-F4C469FC6A0E}" sibTransId="{B8C914DC-F23E-4D4F-A0E2-029ED47FFF20}"/>
    <dgm:cxn modelId="{C1E3FEE3-4634-4D38-8E70-82AEFAE4B0C6}" type="presOf" srcId="{BD5BF98A-3F25-4947-ABBE-DBF42D188DDA}" destId="{6551B31D-494C-4F3A-841C-6AC70EDCB3CF}" srcOrd="0" destOrd="1" presId="urn:microsoft.com/office/officeart/2005/8/layout/vList2"/>
    <dgm:cxn modelId="{B975D3EF-D953-4B01-8A76-8D68E7016E66}" srcId="{F98A5AD0-9FAB-45BA-9A66-A08C6FCE242C}" destId="{04BF16B3-1D2B-498A-8B6F-4FBE2372B31C}" srcOrd="1" destOrd="0" parTransId="{A84A9AB5-3F93-4178-B12C-942CE6D65EA8}" sibTransId="{EBB07344-2360-4AFB-9763-A8AA5DD06BEE}"/>
    <dgm:cxn modelId="{0A03E5F5-41CB-492D-8387-DD9267FDB19A}" type="presParOf" srcId="{3110B031-4F87-4DA8-B9CE-855C3E871359}" destId="{47A1D3D5-9E76-431B-936E-27ED74BE81DF}" srcOrd="0" destOrd="0" presId="urn:microsoft.com/office/officeart/2005/8/layout/vList2"/>
    <dgm:cxn modelId="{65392C4F-D294-42BC-8F33-8F8055DEF6D5}" type="presParOf" srcId="{3110B031-4F87-4DA8-B9CE-855C3E871359}" destId="{F7A5FA27-EE15-4B9D-A2D7-9E990BE5D34D}" srcOrd="1" destOrd="0" presId="urn:microsoft.com/office/officeart/2005/8/layout/vList2"/>
    <dgm:cxn modelId="{91AA38F5-9808-44DB-97E3-DCF9F355F032}" type="presParOf" srcId="{3110B031-4F87-4DA8-B9CE-855C3E871359}" destId="{956BBA51-9DA8-4303-A3B1-EA57BE42EACE}" srcOrd="2" destOrd="0" presId="urn:microsoft.com/office/officeart/2005/8/layout/vList2"/>
    <dgm:cxn modelId="{D560AE6B-3258-444F-ABC9-5CA5CA210CF5}" type="presParOf" srcId="{3110B031-4F87-4DA8-B9CE-855C3E871359}" destId="{6551B31D-494C-4F3A-841C-6AC70EDCB3CF}" srcOrd="3" destOrd="0" presId="urn:microsoft.com/office/officeart/2005/8/layout/vList2"/>
    <dgm:cxn modelId="{4CEA7E09-62EC-4DA1-98AC-F0A3334C3291}" type="presParOf" srcId="{3110B031-4F87-4DA8-B9CE-855C3E871359}" destId="{DD34124C-D6F2-480B-9773-482ABC4EE9DD}" srcOrd="4" destOrd="0" presId="urn:microsoft.com/office/officeart/2005/8/layout/vList2"/>
    <dgm:cxn modelId="{29C11493-DF0E-4BBD-824C-018F4D4DBE11}" type="presParOf" srcId="{3110B031-4F87-4DA8-B9CE-855C3E871359}" destId="{ADB56FBA-AB70-47DA-8A7F-C3C760D02163}"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92F50A3-12B7-4301-9267-D7594844DC9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B0F08CC-4FAC-4363-B737-77281EC9F471}">
      <dgm:prSet/>
      <dgm:spPr/>
      <dgm:t>
        <a:bodyPr/>
        <a:lstStyle/>
        <a:p>
          <a:r>
            <a:rPr lang="en-AU" baseline="0"/>
            <a:t>Implicit Conversions</a:t>
          </a:r>
          <a:endParaRPr lang="en-US"/>
        </a:p>
      </dgm:t>
    </dgm:pt>
    <dgm:pt modelId="{16C04D14-ACA0-4111-981B-603900339287}" type="parTrans" cxnId="{6518AC05-5B21-460C-931C-E312654813F9}">
      <dgm:prSet/>
      <dgm:spPr/>
      <dgm:t>
        <a:bodyPr/>
        <a:lstStyle/>
        <a:p>
          <a:endParaRPr lang="en-US"/>
        </a:p>
      </dgm:t>
    </dgm:pt>
    <dgm:pt modelId="{5D791537-098B-45E5-BA5D-BD4BBC7DE66C}" type="sibTrans" cxnId="{6518AC05-5B21-460C-931C-E312654813F9}">
      <dgm:prSet/>
      <dgm:spPr/>
      <dgm:t>
        <a:bodyPr/>
        <a:lstStyle/>
        <a:p>
          <a:endParaRPr lang="en-US"/>
        </a:p>
      </dgm:t>
    </dgm:pt>
    <dgm:pt modelId="{EEDBF4FF-6416-4DC3-916A-EF43CA8BE6CF}" type="pres">
      <dgm:prSet presAssocID="{C92F50A3-12B7-4301-9267-D7594844DC90}" presName="linear" presStyleCnt="0">
        <dgm:presLayoutVars>
          <dgm:animLvl val="lvl"/>
          <dgm:resizeHandles val="exact"/>
        </dgm:presLayoutVars>
      </dgm:prSet>
      <dgm:spPr/>
    </dgm:pt>
    <dgm:pt modelId="{3D83622E-48D3-4138-B28F-1252663A35E4}" type="pres">
      <dgm:prSet presAssocID="{AB0F08CC-4FAC-4363-B737-77281EC9F471}" presName="parentText" presStyleLbl="node1" presStyleIdx="0" presStyleCnt="1" custScaleY="39061">
        <dgm:presLayoutVars>
          <dgm:chMax val="0"/>
          <dgm:bulletEnabled val="1"/>
        </dgm:presLayoutVars>
      </dgm:prSet>
      <dgm:spPr/>
    </dgm:pt>
  </dgm:ptLst>
  <dgm:cxnLst>
    <dgm:cxn modelId="{6518AC05-5B21-460C-931C-E312654813F9}" srcId="{C92F50A3-12B7-4301-9267-D7594844DC90}" destId="{AB0F08CC-4FAC-4363-B737-77281EC9F471}" srcOrd="0" destOrd="0" parTransId="{16C04D14-ACA0-4111-981B-603900339287}" sibTransId="{5D791537-098B-45E5-BA5D-BD4BBC7DE66C}"/>
    <dgm:cxn modelId="{83D57208-1C8B-426A-AAA8-9A10AE9C5716}" type="presOf" srcId="{AB0F08CC-4FAC-4363-B737-77281EC9F471}" destId="{3D83622E-48D3-4138-B28F-1252663A35E4}" srcOrd="0" destOrd="0" presId="urn:microsoft.com/office/officeart/2005/8/layout/vList2"/>
    <dgm:cxn modelId="{772630D0-EF8F-421D-8B22-3A7DA667940D}" type="presOf" srcId="{C92F50A3-12B7-4301-9267-D7594844DC90}" destId="{EEDBF4FF-6416-4DC3-916A-EF43CA8BE6CF}" srcOrd="0" destOrd="0" presId="urn:microsoft.com/office/officeart/2005/8/layout/vList2"/>
    <dgm:cxn modelId="{8C00E53E-8D39-4A50-85BB-22AB7A39AAD4}" type="presParOf" srcId="{EEDBF4FF-6416-4DC3-916A-EF43CA8BE6CF}" destId="{3D83622E-48D3-4138-B28F-1252663A35E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3515D9F-34E1-4D0D-84BB-456C23EEFD20}" type="doc">
      <dgm:prSet loTypeId="urn:microsoft.com/office/officeart/2005/8/layout/hierarchy2" loCatId="hierarchy" qsTypeId="urn:microsoft.com/office/officeart/2005/8/quickstyle/simple1" qsCatId="simple" csTypeId="urn:microsoft.com/office/officeart/2005/8/colors/colorful3" csCatId="colorful" phldr="1"/>
      <dgm:spPr/>
      <dgm:t>
        <a:bodyPr/>
        <a:lstStyle/>
        <a:p>
          <a:endParaRPr lang="en-US"/>
        </a:p>
      </dgm:t>
    </dgm:pt>
    <dgm:pt modelId="{1E92F460-046F-4653-958A-1AF21DE78449}">
      <dgm:prSet/>
      <dgm:spPr/>
      <dgm:t>
        <a:bodyPr/>
        <a:lstStyle/>
        <a:p>
          <a:pPr algn="l"/>
          <a:r>
            <a:rPr lang="pt-PT"/>
            <a:t>SELECT * </a:t>
          </a:r>
        </a:p>
        <a:p>
          <a:pPr algn="l"/>
          <a:r>
            <a:rPr lang="pt-PT"/>
            <a:t>FROM [dbo].[Product] </a:t>
          </a:r>
        </a:p>
        <a:p>
          <a:pPr algn="l"/>
          <a:r>
            <a:rPr lang="pt-PT"/>
            <a:t>WHERE [ProductID] = 7</a:t>
          </a:r>
          <a:endParaRPr lang="en-US"/>
        </a:p>
      </dgm:t>
    </dgm:pt>
    <dgm:pt modelId="{EE271053-B00E-4281-82F6-708FD79E6422}" type="parTrans" cxnId="{0D8890BE-FFF4-4F8F-90FC-50CB1670C8B9}">
      <dgm:prSet/>
      <dgm:spPr/>
      <dgm:t>
        <a:bodyPr/>
        <a:lstStyle/>
        <a:p>
          <a:endParaRPr lang="en-US"/>
        </a:p>
      </dgm:t>
    </dgm:pt>
    <dgm:pt modelId="{7B0CBA7C-C504-4BA4-A354-7E722658E443}" type="sibTrans" cxnId="{0D8890BE-FFF4-4F8F-90FC-50CB1670C8B9}">
      <dgm:prSet/>
      <dgm:spPr/>
      <dgm:t>
        <a:bodyPr/>
        <a:lstStyle/>
        <a:p>
          <a:endParaRPr lang="en-US"/>
        </a:p>
      </dgm:t>
    </dgm:pt>
    <dgm:pt modelId="{85F2F2CB-CD65-4ACC-9AAB-BDC744F7A8CF}">
      <dgm:prSet/>
      <dgm:spPr/>
      <dgm:t>
        <a:bodyPr/>
        <a:lstStyle/>
        <a:p>
          <a:pPr algn="l"/>
          <a:r>
            <a:rPr lang="pt-PT"/>
            <a:t>SELECT * </a:t>
          </a:r>
        </a:p>
        <a:p>
          <a:pPr algn="l"/>
          <a:r>
            <a:rPr lang="pt-PT"/>
            <a:t>FROM [dbo].[Product]</a:t>
          </a:r>
        </a:p>
        <a:p>
          <a:pPr algn="l"/>
          <a:r>
            <a:rPr lang="pt-PT"/>
            <a:t>WHERE [ProductID] = N’7’</a:t>
          </a:r>
          <a:endParaRPr lang="en-US"/>
        </a:p>
      </dgm:t>
    </dgm:pt>
    <dgm:pt modelId="{F7D0E221-7E24-436A-938C-2111F28DBDD8}" type="parTrans" cxnId="{43514A26-1265-4629-AB84-E1D3AC2CE74D}">
      <dgm:prSet/>
      <dgm:spPr/>
      <dgm:t>
        <a:bodyPr/>
        <a:lstStyle/>
        <a:p>
          <a:endParaRPr lang="en-US"/>
        </a:p>
      </dgm:t>
    </dgm:pt>
    <dgm:pt modelId="{EED6CF82-2795-4462-9A58-D17A3C0EEE42}" type="sibTrans" cxnId="{43514A26-1265-4629-AB84-E1D3AC2CE74D}">
      <dgm:prSet/>
      <dgm:spPr/>
      <dgm:t>
        <a:bodyPr/>
        <a:lstStyle/>
        <a:p>
          <a:endParaRPr lang="en-US"/>
        </a:p>
      </dgm:t>
    </dgm:pt>
    <dgm:pt modelId="{78A34732-1873-4B3D-97B8-732D79EBAB43}" type="pres">
      <dgm:prSet presAssocID="{33515D9F-34E1-4D0D-84BB-456C23EEFD20}" presName="diagram" presStyleCnt="0">
        <dgm:presLayoutVars>
          <dgm:chPref val="1"/>
          <dgm:dir/>
          <dgm:animOne val="branch"/>
          <dgm:animLvl val="lvl"/>
          <dgm:resizeHandles val="exact"/>
        </dgm:presLayoutVars>
      </dgm:prSet>
      <dgm:spPr/>
    </dgm:pt>
    <dgm:pt modelId="{062FDE06-A0A2-44FC-B2A4-37AD9BE15690}" type="pres">
      <dgm:prSet presAssocID="{1E92F460-046F-4653-958A-1AF21DE78449}" presName="root1" presStyleCnt="0"/>
      <dgm:spPr/>
    </dgm:pt>
    <dgm:pt modelId="{6C07723A-D4CE-4CF0-AA9C-4F95928A19A1}" type="pres">
      <dgm:prSet presAssocID="{1E92F460-046F-4653-958A-1AF21DE78449}" presName="LevelOneTextNode" presStyleLbl="node0" presStyleIdx="0" presStyleCnt="2" custScaleX="124903">
        <dgm:presLayoutVars>
          <dgm:chPref val="3"/>
        </dgm:presLayoutVars>
      </dgm:prSet>
      <dgm:spPr/>
    </dgm:pt>
    <dgm:pt modelId="{DC7B8BD4-485C-4F71-B2DA-05BE4FFA99C4}" type="pres">
      <dgm:prSet presAssocID="{1E92F460-046F-4653-958A-1AF21DE78449}" presName="level2hierChild" presStyleCnt="0"/>
      <dgm:spPr/>
    </dgm:pt>
    <dgm:pt modelId="{BF61F123-573E-4488-9511-A87AAE2030E4}" type="pres">
      <dgm:prSet presAssocID="{85F2F2CB-CD65-4ACC-9AAB-BDC744F7A8CF}" presName="root1" presStyleCnt="0"/>
      <dgm:spPr/>
    </dgm:pt>
    <dgm:pt modelId="{7379EAF2-FE23-43F0-8356-15BA0D55797A}" type="pres">
      <dgm:prSet presAssocID="{85F2F2CB-CD65-4ACC-9AAB-BDC744F7A8CF}" presName="LevelOneTextNode" presStyleLbl="node0" presStyleIdx="1" presStyleCnt="2" custScaleX="126288">
        <dgm:presLayoutVars>
          <dgm:chPref val="3"/>
        </dgm:presLayoutVars>
      </dgm:prSet>
      <dgm:spPr/>
    </dgm:pt>
    <dgm:pt modelId="{71FACDA2-C41E-4370-A930-F07F96A34A6A}" type="pres">
      <dgm:prSet presAssocID="{85F2F2CB-CD65-4ACC-9AAB-BDC744F7A8CF}" presName="level2hierChild" presStyleCnt="0"/>
      <dgm:spPr/>
    </dgm:pt>
  </dgm:ptLst>
  <dgm:cxnLst>
    <dgm:cxn modelId="{DD13DF12-DCD6-4A1F-B465-DF1F4E70E9A8}" type="presOf" srcId="{85F2F2CB-CD65-4ACC-9AAB-BDC744F7A8CF}" destId="{7379EAF2-FE23-43F0-8356-15BA0D55797A}" srcOrd="0" destOrd="0" presId="urn:microsoft.com/office/officeart/2005/8/layout/hierarchy2"/>
    <dgm:cxn modelId="{43514A26-1265-4629-AB84-E1D3AC2CE74D}" srcId="{33515D9F-34E1-4D0D-84BB-456C23EEFD20}" destId="{85F2F2CB-CD65-4ACC-9AAB-BDC744F7A8CF}" srcOrd="1" destOrd="0" parTransId="{F7D0E221-7E24-436A-938C-2111F28DBDD8}" sibTransId="{EED6CF82-2795-4462-9A58-D17A3C0EEE42}"/>
    <dgm:cxn modelId="{C345D448-4E31-491D-9EFC-1BBD23231710}" type="presOf" srcId="{33515D9F-34E1-4D0D-84BB-456C23EEFD20}" destId="{78A34732-1873-4B3D-97B8-732D79EBAB43}" srcOrd="0" destOrd="0" presId="urn:microsoft.com/office/officeart/2005/8/layout/hierarchy2"/>
    <dgm:cxn modelId="{CC7A9272-4D09-46FB-BE8C-675FC89AA278}" type="presOf" srcId="{1E92F460-046F-4653-958A-1AF21DE78449}" destId="{6C07723A-D4CE-4CF0-AA9C-4F95928A19A1}" srcOrd="0" destOrd="0" presId="urn:microsoft.com/office/officeart/2005/8/layout/hierarchy2"/>
    <dgm:cxn modelId="{0D8890BE-FFF4-4F8F-90FC-50CB1670C8B9}" srcId="{33515D9F-34E1-4D0D-84BB-456C23EEFD20}" destId="{1E92F460-046F-4653-958A-1AF21DE78449}" srcOrd="0" destOrd="0" parTransId="{EE271053-B00E-4281-82F6-708FD79E6422}" sibTransId="{7B0CBA7C-C504-4BA4-A354-7E722658E443}"/>
    <dgm:cxn modelId="{99D7A8E0-3B52-45B5-AC1A-5AC74C556005}" type="presParOf" srcId="{78A34732-1873-4B3D-97B8-732D79EBAB43}" destId="{062FDE06-A0A2-44FC-B2A4-37AD9BE15690}" srcOrd="0" destOrd="0" presId="urn:microsoft.com/office/officeart/2005/8/layout/hierarchy2"/>
    <dgm:cxn modelId="{427A3FC1-5C24-4F68-B028-C3516AAB35DD}" type="presParOf" srcId="{062FDE06-A0A2-44FC-B2A4-37AD9BE15690}" destId="{6C07723A-D4CE-4CF0-AA9C-4F95928A19A1}" srcOrd="0" destOrd="0" presId="urn:microsoft.com/office/officeart/2005/8/layout/hierarchy2"/>
    <dgm:cxn modelId="{AD4BCDCB-4C17-409F-BFA6-A919FF9BB370}" type="presParOf" srcId="{062FDE06-A0A2-44FC-B2A4-37AD9BE15690}" destId="{DC7B8BD4-485C-4F71-B2DA-05BE4FFA99C4}" srcOrd="1" destOrd="0" presId="urn:microsoft.com/office/officeart/2005/8/layout/hierarchy2"/>
    <dgm:cxn modelId="{C1B1B021-6F60-4B77-9170-959C68437F7E}" type="presParOf" srcId="{78A34732-1873-4B3D-97B8-732D79EBAB43}" destId="{BF61F123-573E-4488-9511-A87AAE2030E4}" srcOrd="1" destOrd="0" presId="urn:microsoft.com/office/officeart/2005/8/layout/hierarchy2"/>
    <dgm:cxn modelId="{FB88FC29-CF20-4883-B429-CA0426299180}" type="presParOf" srcId="{BF61F123-573E-4488-9511-A87AAE2030E4}" destId="{7379EAF2-FE23-43F0-8356-15BA0D55797A}" srcOrd="0" destOrd="0" presId="urn:microsoft.com/office/officeart/2005/8/layout/hierarchy2"/>
    <dgm:cxn modelId="{D0359C6E-AD9D-4BDD-9C96-8576066CC929}" type="presParOf" srcId="{BF61F123-573E-4488-9511-A87AAE2030E4}" destId="{71FACDA2-C41E-4370-A930-F07F96A34A6A}" srcOrd="1" destOrd="0" presId="urn:microsoft.com/office/officeart/2005/8/layout/hierarchy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12027A1-F68B-4208-8EEF-13CE5E1A0477}"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46AD379E-59A5-430B-807F-FB88B6B37305}">
      <dgm:prSet/>
      <dgm:spPr/>
      <dgm:t>
        <a:bodyPr/>
        <a:lstStyle/>
        <a:p>
          <a:r>
            <a:rPr lang="en-AU" baseline="0"/>
            <a:t>Resolving non-SARGable expressions</a:t>
          </a:r>
          <a:endParaRPr lang="en-US"/>
        </a:p>
      </dgm:t>
    </dgm:pt>
    <dgm:pt modelId="{4F3C6D45-6AE3-4BF1-8B63-4DB03B0192DC}" type="parTrans" cxnId="{D66A4AC1-9FA4-4476-B579-7D330CD1124E}">
      <dgm:prSet/>
      <dgm:spPr/>
      <dgm:t>
        <a:bodyPr/>
        <a:lstStyle/>
        <a:p>
          <a:endParaRPr lang="en-US"/>
        </a:p>
      </dgm:t>
    </dgm:pt>
    <dgm:pt modelId="{07FCC30D-8AA4-47B0-B8B2-520D884ACD19}" type="sibTrans" cxnId="{D66A4AC1-9FA4-4476-B579-7D330CD1124E}">
      <dgm:prSet/>
      <dgm:spPr/>
      <dgm:t>
        <a:bodyPr/>
        <a:lstStyle/>
        <a:p>
          <a:endParaRPr lang="en-US"/>
        </a:p>
      </dgm:t>
    </dgm:pt>
    <dgm:pt modelId="{3B331AC3-7DAA-493B-9439-7FB02385AC42}">
      <dgm:prSet/>
      <dgm:spPr/>
      <dgm:t>
        <a:bodyPr/>
        <a:lstStyle/>
        <a:p>
          <a:r>
            <a:rPr lang="en-AU" baseline="0"/>
            <a:t>Create computed column to Replace calculations / expressions.</a:t>
          </a:r>
          <a:endParaRPr lang="en-US"/>
        </a:p>
      </dgm:t>
    </dgm:pt>
    <dgm:pt modelId="{7BCAEB83-82F1-4F3E-9686-1D47960FEA77}" type="parTrans" cxnId="{52BD7076-D528-4A64-A439-972AFDD99F3F}">
      <dgm:prSet/>
      <dgm:spPr/>
      <dgm:t>
        <a:bodyPr/>
        <a:lstStyle/>
        <a:p>
          <a:endParaRPr lang="en-US"/>
        </a:p>
      </dgm:t>
    </dgm:pt>
    <dgm:pt modelId="{50F01C98-A704-4395-A585-B74A33733D6B}" type="sibTrans" cxnId="{52BD7076-D528-4A64-A439-972AFDD99F3F}">
      <dgm:prSet/>
      <dgm:spPr/>
      <dgm:t>
        <a:bodyPr/>
        <a:lstStyle/>
        <a:p>
          <a:endParaRPr lang="en-US"/>
        </a:p>
      </dgm:t>
    </dgm:pt>
    <dgm:pt modelId="{49FD8BD4-61A3-4DF2-8563-8104BEC0F5DD}">
      <dgm:prSet/>
      <dgm:spPr/>
      <dgm:t>
        <a:bodyPr/>
        <a:lstStyle/>
        <a:p>
          <a:r>
            <a:rPr lang="en-AU" baseline="0"/>
            <a:t>Create an index on computed column.</a:t>
          </a:r>
          <a:endParaRPr lang="en-US"/>
        </a:p>
      </dgm:t>
    </dgm:pt>
    <dgm:pt modelId="{E62D94DC-DF3B-4FED-8E0D-BE72718E86DE}" type="parTrans" cxnId="{A11DBEFE-8148-41BB-9A1C-938D0290F79F}">
      <dgm:prSet/>
      <dgm:spPr/>
      <dgm:t>
        <a:bodyPr/>
        <a:lstStyle/>
        <a:p>
          <a:endParaRPr lang="en-US"/>
        </a:p>
      </dgm:t>
    </dgm:pt>
    <dgm:pt modelId="{33A96CEF-2F84-4231-8371-C3C04660EA4C}" type="sibTrans" cxnId="{A11DBEFE-8148-41BB-9A1C-938D0290F79F}">
      <dgm:prSet/>
      <dgm:spPr/>
      <dgm:t>
        <a:bodyPr/>
        <a:lstStyle/>
        <a:p>
          <a:endParaRPr lang="en-US"/>
        </a:p>
      </dgm:t>
    </dgm:pt>
    <dgm:pt modelId="{F28EA2E7-DA7B-4A1A-98EF-091EE2B118C9}">
      <dgm:prSet/>
      <dgm:spPr/>
      <dgm:t>
        <a:bodyPr/>
        <a:lstStyle/>
        <a:p>
          <a:r>
            <a:rPr lang="en-AU" baseline="0"/>
            <a:t>Selectivity issues for inequalities</a:t>
          </a:r>
          <a:endParaRPr lang="en-US"/>
        </a:p>
      </dgm:t>
    </dgm:pt>
    <dgm:pt modelId="{A9CF8DE4-D25B-4949-AE48-B3BED39492C1}" type="parTrans" cxnId="{93B1895A-F45A-4E3D-A23E-36900265B74B}">
      <dgm:prSet/>
      <dgm:spPr/>
      <dgm:t>
        <a:bodyPr/>
        <a:lstStyle/>
        <a:p>
          <a:endParaRPr lang="en-US"/>
        </a:p>
      </dgm:t>
    </dgm:pt>
    <dgm:pt modelId="{80C73A79-8712-4167-99DD-5148F59F02F0}" type="sibTrans" cxnId="{93B1895A-F45A-4E3D-A23E-36900265B74B}">
      <dgm:prSet/>
      <dgm:spPr/>
      <dgm:t>
        <a:bodyPr/>
        <a:lstStyle/>
        <a:p>
          <a:endParaRPr lang="en-US"/>
        </a:p>
      </dgm:t>
    </dgm:pt>
    <dgm:pt modelId="{DFA682E4-5C12-471E-8029-8B367C9CE6C1}">
      <dgm:prSet/>
      <dgm:spPr/>
      <dgm:t>
        <a:bodyPr/>
        <a:lstStyle/>
        <a:p>
          <a:r>
            <a:rPr lang="en-AU" baseline="0"/>
            <a:t>SQL Server assumes 30% selectivity on inequality comparisons.</a:t>
          </a:r>
          <a:endParaRPr lang="en-US"/>
        </a:p>
      </dgm:t>
    </dgm:pt>
    <dgm:pt modelId="{B25FA147-4ECA-4F40-9D2D-C9136B9FDFD6}" type="parTrans" cxnId="{54D49228-D4C5-4ACE-830B-810C6F855F9A}">
      <dgm:prSet/>
      <dgm:spPr/>
      <dgm:t>
        <a:bodyPr/>
        <a:lstStyle/>
        <a:p>
          <a:endParaRPr lang="en-US"/>
        </a:p>
      </dgm:t>
    </dgm:pt>
    <dgm:pt modelId="{15A24D87-43DA-4BB4-B00E-4411D6CBAB00}" type="sibTrans" cxnId="{54D49228-D4C5-4ACE-830B-810C6F855F9A}">
      <dgm:prSet/>
      <dgm:spPr/>
      <dgm:t>
        <a:bodyPr/>
        <a:lstStyle/>
        <a:p>
          <a:endParaRPr lang="en-US"/>
        </a:p>
      </dgm:t>
    </dgm:pt>
    <dgm:pt modelId="{3D5B337E-EB32-412E-BE23-3A9EC7094A1F}">
      <dgm:prSet/>
      <dgm:spPr/>
      <dgm:t>
        <a:bodyPr/>
        <a:lstStyle/>
        <a:p>
          <a:r>
            <a:rPr lang="en-AU" baseline="0"/>
            <a:t>Computed column will have more accurate statistics.</a:t>
          </a:r>
          <a:endParaRPr lang="en-US"/>
        </a:p>
      </dgm:t>
    </dgm:pt>
    <dgm:pt modelId="{EE2A6D16-4DF5-4709-8FBE-47C32D7BF3F4}" type="parTrans" cxnId="{EA809CDE-E6DA-452A-9E8E-CA27FF261C5E}">
      <dgm:prSet/>
      <dgm:spPr/>
      <dgm:t>
        <a:bodyPr/>
        <a:lstStyle/>
        <a:p>
          <a:endParaRPr lang="en-US"/>
        </a:p>
      </dgm:t>
    </dgm:pt>
    <dgm:pt modelId="{27D48728-16E1-4EED-BBC3-21A410DDC461}" type="sibTrans" cxnId="{EA809CDE-E6DA-452A-9E8E-CA27FF261C5E}">
      <dgm:prSet/>
      <dgm:spPr/>
      <dgm:t>
        <a:bodyPr/>
        <a:lstStyle/>
        <a:p>
          <a:endParaRPr lang="en-US"/>
        </a:p>
      </dgm:t>
    </dgm:pt>
    <dgm:pt modelId="{394219A2-B3D8-4F59-9991-8115ECD8A858}">
      <dgm:prSet/>
      <dgm:spPr/>
      <dgm:t>
        <a:bodyPr/>
        <a:lstStyle/>
        <a:p>
          <a:r>
            <a:rPr lang="en-AU" baseline="0"/>
            <a:t>No need to specify computed column.</a:t>
          </a:r>
          <a:endParaRPr lang="en-US"/>
        </a:p>
      </dgm:t>
    </dgm:pt>
    <dgm:pt modelId="{F658EFE3-9FA3-42D9-ACCD-8815DF41D266}" type="parTrans" cxnId="{2356CC5F-A468-4EFA-9D20-FB888E3D0D44}">
      <dgm:prSet/>
      <dgm:spPr/>
      <dgm:t>
        <a:bodyPr/>
        <a:lstStyle/>
        <a:p>
          <a:endParaRPr lang="en-US"/>
        </a:p>
      </dgm:t>
    </dgm:pt>
    <dgm:pt modelId="{D3F2CB1C-AFF1-48FC-98DD-00032404083A}" type="sibTrans" cxnId="{2356CC5F-A468-4EFA-9D20-FB888E3D0D44}">
      <dgm:prSet/>
      <dgm:spPr/>
      <dgm:t>
        <a:bodyPr/>
        <a:lstStyle/>
        <a:p>
          <a:endParaRPr lang="en-US"/>
        </a:p>
      </dgm:t>
    </dgm:pt>
    <dgm:pt modelId="{0700F99F-FF37-44B9-8197-8CB797699455}" type="pres">
      <dgm:prSet presAssocID="{B12027A1-F68B-4208-8EEF-13CE5E1A0477}" presName="linear" presStyleCnt="0">
        <dgm:presLayoutVars>
          <dgm:dir/>
          <dgm:animLvl val="lvl"/>
          <dgm:resizeHandles val="exact"/>
        </dgm:presLayoutVars>
      </dgm:prSet>
      <dgm:spPr/>
    </dgm:pt>
    <dgm:pt modelId="{8D7D65D6-CE2F-4DDC-9779-91B55281E831}" type="pres">
      <dgm:prSet presAssocID="{46AD379E-59A5-430B-807F-FB88B6B37305}" presName="parentLin" presStyleCnt="0"/>
      <dgm:spPr/>
    </dgm:pt>
    <dgm:pt modelId="{382A15E7-F349-4ACD-B93E-35E28C35E3FC}" type="pres">
      <dgm:prSet presAssocID="{46AD379E-59A5-430B-807F-FB88B6B37305}" presName="parentLeftMargin" presStyleLbl="node1" presStyleIdx="0" presStyleCnt="2"/>
      <dgm:spPr/>
    </dgm:pt>
    <dgm:pt modelId="{247C05D9-D751-4533-84B7-81B4CD619193}" type="pres">
      <dgm:prSet presAssocID="{46AD379E-59A5-430B-807F-FB88B6B37305}" presName="parentText" presStyleLbl="node1" presStyleIdx="0" presStyleCnt="2">
        <dgm:presLayoutVars>
          <dgm:chMax val="0"/>
          <dgm:bulletEnabled val="1"/>
        </dgm:presLayoutVars>
      </dgm:prSet>
      <dgm:spPr/>
    </dgm:pt>
    <dgm:pt modelId="{D9D5A7EF-3AFC-438B-868F-00D4B1AE2BD8}" type="pres">
      <dgm:prSet presAssocID="{46AD379E-59A5-430B-807F-FB88B6B37305}" presName="negativeSpace" presStyleCnt="0"/>
      <dgm:spPr/>
    </dgm:pt>
    <dgm:pt modelId="{DEFD3A36-8793-4096-8DBB-0AF34157507A}" type="pres">
      <dgm:prSet presAssocID="{46AD379E-59A5-430B-807F-FB88B6B37305}" presName="childText" presStyleLbl="conFgAcc1" presStyleIdx="0" presStyleCnt="2">
        <dgm:presLayoutVars>
          <dgm:bulletEnabled val="1"/>
        </dgm:presLayoutVars>
      </dgm:prSet>
      <dgm:spPr/>
    </dgm:pt>
    <dgm:pt modelId="{279BF4AE-4A31-4678-AEA1-F24825ABBC40}" type="pres">
      <dgm:prSet presAssocID="{07FCC30D-8AA4-47B0-B8B2-520D884ACD19}" presName="spaceBetweenRectangles" presStyleCnt="0"/>
      <dgm:spPr/>
    </dgm:pt>
    <dgm:pt modelId="{E720C512-E25F-405C-B4D1-E4D905A1C39D}" type="pres">
      <dgm:prSet presAssocID="{F28EA2E7-DA7B-4A1A-98EF-091EE2B118C9}" presName="parentLin" presStyleCnt="0"/>
      <dgm:spPr/>
    </dgm:pt>
    <dgm:pt modelId="{12B2EE91-4CBD-4AE5-B879-3222D61DDEA5}" type="pres">
      <dgm:prSet presAssocID="{F28EA2E7-DA7B-4A1A-98EF-091EE2B118C9}" presName="parentLeftMargin" presStyleLbl="node1" presStyleIdx="0" presStyleCnt="2"/>
      <dgm:spPr/>
    </dgm:pt>
    <dgm:pt modelId="{D9076706-70C3-4E69-B60E-233EDF794CEB}" type="pres">
      <dgm:prSet presAssocID="{F28EA2E7-DA7B-4A1A-98EF-091EE2B118C9}" presName="parentText" presStyleLbl="node1" presStyleIdx="1" presStyleCnt="2">
        <dgm:presLayoutVars>
          <dgm:chMax val="0"/>
          <dgm:bulletEnabled val="1"/>
        </dgm:presLayoutVars>
      </dgm:prSet>
      <dgm:spPr/>
    </dgm:pt>
    <dgm:pt modelId="{0B671DD8-5304-4761-B1B9-5F10895CD2A5}" type="pres">
      <dgm:prSet presAssocID="{F28EA2E7-DA7B-4A1A-98EF-091EE2B118C9}" presName="negativeSpace" presStyleCnt="0"/>
      <dgm:spPr/>
    </dgm:pt>
    <dgm:pt modelId="{9C660BE5-9F76-4BDF-B385-DB2439091800}" type="pres">
      <dgm:prSet presAssocID="{F28EA2E7-DA7B-4A1A-98EF-091EE2B118C9}" presName="childText" presStyleLbl="conFgAcc1" presStyleIdx="1" presStyleCnt="2">
        <dgm:presLayoutVars>
          <dgm:bulletEnabled val="1"/>
        </dgm:presLayoutVars>
      </dgm:prSet>
      <dgm:spPr/>
    </dgm:pt>
  </dgm:ptLst>
  <dgm:cxnLst>
    <dgm:cxn modelId="{12C62D0C-D95E-414F-9A27-817D5672B1F1}" type="presOf" srcId="{F28EA2E7-DA7B-4A1A-98EF-091EE2B118C9}" destId="{12B2EE91-4CBD-4AE5-B879-3222D61DDEA5}" srcOrd="0" destOrd="0" presId="urn:microsoft.com/office/officeart/2005/8/layout/list1"/>
    <dgm:cxn modelId="{19EEA51C-DBFC-4721-804F-7FDA444680EA}" type="presOf" srcId="{B12027A1-F68B-4208-8EEF-13CE5E1A0477}" destId="{0700F99F-FF37-44B9-8197-8CB797699455}" srcOrd="0" destOrd="0" presId="urn:microsoft.com/office/officeart/2005/8/layout/list1"/>
    <dgm:cxn modelId="{04365B21-B28B-4D41-8626-EA5B5F9B4662}" type="presOf" srcId="{46AD379E-59A5-430B-807F-FB88B6B37305}" destId="{247C05D9-D751-4533-84B7-81B4CD619193}" srcOrd="1" destOrd="0" presId="urn:microsoft.com/office/officeart/2005/8/layout/list1"/>
    <dgm:cxn modelId="{9A603825-75E0-4078-A806-FC506820BBCF}" type="presOf" srcId="{3D5B337E-EB32-412E-BE23-3A9EC7094A1F}" destId="{9C660BE5-9F76-4BDF-B385-DB2439091800}" srcOrd="0" destOrd="1" presId="urn:microsoft.com/office/officeart/2005/8/layout/list1"/>
    <dgm:cxn modelId="{54D49228-D4C5-4ACE-830B-810C6F855F9A}" srcId="{F28EA2E7-DA7B-4A1A-98EF-091EE2B118C9}" destId="{DFA682E4-5C12-471E-8029-8B367C9CE6C1}" srcOrd="0" destOrd="0" parTransId="{B25FA147-4ECA-4F40-9D2D-C9136B9FDFD6}" sibTransId="{15A24D87-43DA-4BB4-B00E-4411D6CBAB00}"/>
    <dgm:cxn modelId="{2356CC5F-A468-4EFA-9D20-FB888E3D0D44}" srcId="{F28EA2E7-DA7B-4A1A-98EF-091EE2B118C9}" destId="{394219A2-B3D8-4F59-9991-8115ECD8A858}" srcOrd="2" destOrd="0" parTransId="{F658EFE3-9FA3-42D9-ACCD-8815DF41D266}" sibTransId="{D3F2CB1C-AFF1-48FC-98DD-00032404083A}"/>
    <dgm:cxn modelId="{52BD7076-D528-4A64-A439-972AFDD99F3F}" srcId="{46AD379E-59A5-430B-807F-FB88B6B37305}" destId="{3B331AC3-7DAA-493B-9439-7FB02385AC42}" srcOrd="0" destOrd="0" parTransId="{7BCAEB83-82F1-4F3E-9686-1D47960FEA77}" sibTransId="{50F01C98-A704-4395-A585-B74A33733D6B}"/>
    <dgm:cxn modelId="{93B1895A-F45A-4E3D-A23E-36900265B74B}" srcId="{B12027A1-F68B-4208-8EEF-13CE5E1A0477}" destId="{F28EA2E7-DA7B-4A1A-98EF-091EE2B118C9}" srcOrd="1" destOrd="0" parTransId="{A9CF8DE4-D25B-4949-AE48-B3BED39492C1}" sibTransId="{80C73A79-8712-4167-99DD-5148F59F02F0}"/>
    <dgm:cxn modelId="{04A3A890-6239-4B70-9951-6AFF8AE486CE}" type="presOf" srcId="{F28EA2E7-DA7B-4A1A-98EF-091EE2B118C9}" destId="{D9076706-70C3-4E69-B60E-233EDF794CEB}" srcOrd="1" destOrd="0" presId="urn:microsoft.com/office/officeart/2005/8/layout/list1"/>
    <dgm:cxn modelId="{1A248195-E480-4C8E-8B22-247F5D33B53F}" type="presOf" srcId="{49FD8BD4-61A3-4DF2-8563-8104BEC0F5DD}" destId="{DEFD3A36-8793-4096-8DBB-0AF34157507A}" srcOrd="0" destOrd="1" presId="urn:microsoft.com/office/officeart/2005/8/layout/list1"/>
    <dgm:cxn modelId="{FF6FA6B4-93D6-4656-A0AD-69E1C2BC778C}" type="presOf" srcId="{394219A2-B3D8-4F59-9991-8115ECD8A858}" destId="{9C660BE5-9F76-4BDF-B385-DB2439091800}" srcOrd="0" destOrd="2" presId="urn:microsoft.com/office/officeart/2005/8/layout/list1"/>
    <dgm:cxn modelId="{D66A4AC1-9FA4-4476-B579-7D330CD1124E}" srcId="{B12027A1-F68B-4208-8EEF-13CE5E1A0477}" destId="{46AD379E-59A5-430B-807F-FB88B6B37305}" srcOrd="0" destOrd="0" parTransId="{4F3C6D45-6AE3-4BF1-8B63-4DB03B0192DC}" sibTransId="{07FCC30D-8AA4-47B0-B8B2-520D884ACD19}"/>
    <dgm:cxn modelId="{906FFAD6-2119-428A-82A6-5C942B4209E5}" type="presOf" srcId="{46AD379E-59A5-430B-807F-FB88B6B37305}" destId="{382A15E7-F349-4ACD-B93E-35E28C35E3FC}" srcOrd="0" destOrd="0" presId="urn:microsoft.com/office/officeart/2005/8/layout/list1"/>
    <dgm:cxn modelId="{EA809CDE-E6DA-452A-9E8E-CA27FF261C5E}" srcId="{F28EA2E7-DA7B-4A1A-98EF-091EE2B118C9}" destId="{3D5B337E-EB32-412E-BE23-3A9EC7094A1F}" srcOrd="1" destOrd="0" parTransId="{EE2A6D16-4DF5-4709-8FBE-47C32D7BF3F4}" sibTransId="{27D48728-16E1-4EED-BBC3-21A410DDC461}"/>
    <dgm:cxn modelId="{C87F43E3-21CE-4F44-B823-44FFE6B2BB63}" type="presOf" srcId="{3B331AC3-7DAA-493B-9439-7FB02385AC42}" destId="{DEFD3A36-8793-4096-8DBB-0AF34157507A}" srcOrd="0" destOrd="0" presId="urn:microsoft.com/office/officeart/2005/8/layout/list1"/>
    <dgm:cxn modelId="{645566F0-2005-470F-BCEC-78DA961B38DC}" type="presOf" srcId="{DFA682E4-5C12-471E-8029-8B367C9CE6C1}" destId="{9C660BE5-9F76-4BDF-B385-DB2439091800}" srcOrd="0" destOrd="0" presId="urn:microsoft.com/office/officeart/2005/8/layout/list1"/>
    <dgm:cxn modelId="{A11DBEFE-8148-41BB-9A1C-938D0290F79F}" srcId="{46AD379E-59A5-430B-807F-FB88B6B37305}" destId="{49FD8BD4-61A3-4DF2-8563-8104BEC0F5DD}" srcOrd="1" destOrd="0" parTransId="{E62D94DC-DF3B-4FED-8E0D-BE72718E86DE}" sibTransId="{33A96CEF-2F84-4231-8371-C3C04660EA4C}"/>
    <dgm:cxn modelId="{5A77F0B3-1CE5-46DE-9620-D8DAAB885D06}" type="presParOf" srcId="{0700F99F-FF37-44B9-8197-8CB797699455}" destId="{8D7D65D6-CE2F-4DDC-9779-91B55281E831}" srcOrd="0" destOrd="0" presId="urn:microsoft.com/office/officeart/2005/8/layout/list1"/>
    <dgm:cxn modelId="{89B7FF8E-70CD-4847-9C39-5C455135F4F1}" type="presParOf" srcId="{8D7D65D6-CE2F-4DDC-9779-91B55281E831}" destId="{382A15E7-F349-4ACD-B93E-35E28C35E3FC}" srcOrd="0" destOrd="0" presId="urn:microsoft.com/office/officeart/2005/8/layout/list1"/>
    <dgm:cxn modelId="{41C93431-F2A8-4301-8549-D90605D5C1B2}" type="presParOf" srcId="{8D7D65D6-CE2F-4DDC-9779-91B55281E831}" destId="{247C05D9-D751-4533-84B7-81B4CD619193}" srcOrd="1" destOrd="0" presId="urn:microsoft.com/office/officeart/2005/8/layout/list1"/>
    <dgm:cxn modelId="{EA745363-19E7-470E-B0A5-16BA17B883BB}" type="presParOf" srcId="{0700F99F-FF37-44B9-8197-8CB797699455}" destId="{D9D5A7EF-3AFC-438B-868F-00D4B1AE2BD8}" srcOrd="1" destOrd="0" presId="urn:microsoft.com/office/officeart/2005/8/layout/list1"/>
    <dgm:cxn modelId="{BF2ADC61-EC3D-4FF2-BF33-AC526864F6DA}" type="presParOf" srcId="{0700F99F-FF37-44B9-8197-8CB797699455}" destId="{DEFD3A36-8793-4096-8DBB-0AF34157507A}" srcOrd="2" destOrd="0" presId="urn:microsoft.com/office/officeart/2005/8/layout/list1"/>
    <dgm:cxn modelId="{323D963B-B09F-4087-9CB4-951A71A900D6}" type="presParOf" srcId="{0700F99F-FF37-44B9-8197-8CB797699455}" destId="{279BF4AE-4A31-4678-AEA1-F24825ABBC40}" srcOrd="3" destOrd="0" presId="urn:microsoft.com/office/officeart/2005/8/layout/list1"/>
    <dgm:cxn modelId="{90AACF5B-68BF-4C06-B406-72BA566D7CA1}" type="presParOf" srcId="{0700F99F-FF37-44B9-8197-8CB797699455}" destId="{E720C512-E25F-405C-B4D1-E4D905A1C39D}" srcOrd="4" destOrd="0" presId="urn:microsoft.com/office/officeart/2005/8/layout/list1"/>
    <dgm:cxn modelId="{4DD9E195-D76C-42C1-889E-282E7907CDA3}" type="presParOf" srcId="{E720C512-E25F-405C-B4D1-E4D905A1C39D}" destId="{12B2EE91-4CBD-4AE5-B879-3222D61DDEA5}" srcOrd="0" destOrd="0" presId="urn:microsoft.com/office/officeart/2005/8/layout/list1"/>
    <dgm:cxn modelId="{85691FB2-38FF-4A40-925C-6D4878D36482}" type="presParOf" srcId="{E720C512-E25F-405C-B4D1-E4D905A1C39D}" destId="{D9076706-70C3-4E69-B60E-233EDF794CEB}" srcOrd="1" destOrd="0" presId="urn:microsoft.com/office/officeart/2005/8/layout/list1"/>
    <dgm:cxn modelId="{E0B76A33-CB2C-495D-9AF2-85A9C0D4AAB9}" type="presParOf" srcId="{0700F99F-FF37-44B9-8197-8CB797699455}" destId="{0B671DD8-5304-4761-B1B9-5F10895CD2A5}" srcOrd="5" destOrd="0" presId="urn:microsoft.com/office/officeart/2005/8/layout/list1"/>
    <dgm:cxn modelId="{8C7FC7F3-C8A0-4480-B377-23BA7D9DE7F2}" type="presParOf" srcId="{0700F99F-FF37-44B9-8197-8CB797699455}" destId="{9C660BE5-9F76-4BDF-B385-DB2439091800}"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6A2EBD9-C338-4668-B8C0-215DEDB30337}"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E35168A8-BD4F-4788-84C2-E9625ACB9676}">
      <dgm:prSet/>
      <dgm:spPr/>
      <dgm:t>
        <a:bodyPr/>
        <a:lstStyle/>
        <a:p>
          <a:pPr algn="l"/>
          <a:r>
            <a:rPr lang="en-US" baseline="0"/>
            <a:t>Specifies that the Database Engine will physically store the computed values in the table.</a:t>
          </a:r>
          <a:endParaRPr lang="en-US"/>
        </a:p>
      </dgm:t>
    </dgm:pt>
    <dgm:pt modelId="{C5286F9A-7143-48A5-A42F-1B63F6730914}" type="parTrans" cxnId="{ABE4B16C-4F15-4C05-B645-9A5C95753A96}">
      <dgm:prSet/>
      <dgm:spPr/>
      <dgm:t>
        <a:bodyPr/>
        <a:lstStyle/>
        <a:p>
          <a:endParaRPr lang="en-US"/>
        </a:p>
      </dgm:t>
    </dgm:pt>
    <dgm:pt modelId="{960FDA8A-3C01-4875-BC50-75F3751E5D73}" type="sibTrans" cxnId="{ABE4B16C-4F15-4C05-B645-9A5C95753A96}">
      <dgm:prSet/>
      <dgm:spPr/>
      <dgm:t>
        <a:bodyPr/>
        <a:lstStyle/>
        <a:p>
          <a:endParaRPr lang="en-US"/>
        </a:p>
      </dgm:t>
    </dgm:pt>
    <dgm:pt modelId="{CA98AD68-E8CF-4DCE-AC03-0D7F94A5A280}">
      <dgm:prSet/>
      <dgm:spPr/>
      <dgm:t>
        <a:bodyPr/>
        <a:lstStyle/>
        <a:p>
          <a:pPr algn="l"/>
          <a:r>
            <a:rPr lang="en-US" baseline="0"/>
            <a:t>Marking a computed column as PERSISTED allows an index to be created on a computed column that is deterministic.</a:t>
          </a:r>
          <a:endParaRPr lang="en-US"/>
        </a:p>
      </dgm:t>
    </dgm:pt>
    <dgm:pt modelId="{4C875559-14D6-4EA3-85C3-5EF4D70DF273}" type="parTrans" cxnId="{C8AA6B41-3F0E-4917-A525-D496192F8E1E}">
      <dgm:prSet/>
      <dgm:spPr/>
      <dgm:t>
        <a:bodyPr/>
        <a:lstStyle/>
        <a:p>
          <a:endParaRPr lang="en-US"/>
        </a:p>
      </dgm:t>
    </dgm:pt>
    <dgm:pt modelId="{F95EAF98-459D-41BD-935F-04E1DB22B555}" type="sibTrans" cxnId="{C8AA6B41-3F0E-4917-A525-D496192F8E1E}">
      <dgm:prSet/>
      <dgm:spPr/>
      <dgm:t>
        <a:bodyPr/>
        <a:lstStyle/>
        <a:p>
          <a:endParaRPr lang="en-US"/>
        </a:p>
      </dgm:t>
    </dgm:pt>
    <dgm:pt modelId="{01BAC276-C7FC-4438-B3C6-D6D391AEFB33}" type="pres">
      <dgm:prSet presAssocID="{76A2EBD9-C338-4668-B8C0-215DEDB30337}" presName="diagram" presStyleCnt="0">
        <dgm:presLayoutVars>
          <dgm:dir/>
          <dgm:resizeHandles val="exact"/>
        </dgm:presLayoutVars>
      </dgm:prSet>
      <dgm:spPr/>
    </dgm:pt>
    <dgm:pt modelId="{01C3AB4F-D8F8-464D-8015-F811F4ED3AC9}" type="pres">
      <dgm:prSet presAssocID="{E35168A8-BD4F-4788-84C2-E9625ACB9676}" presName="node" presStyleLbl="node1" presStyleIdx="0" presStyleCnt="2" custScaleX="182599">
        <dgm:presLayoutVars>
          <dgm:bulletEnabled val="1"/>
        </dgm:presLayoutVars>
      </dgm:prSet>
      <dgm:spPr/>
    </dgm:pt>
    <dgm:pt modelId="{95523480-7373-45D4-9DDB-5DD254678324}" type="pres">
      <dgm:prSet presAssocID="{960FDA8A-3C01-4875-BC50-75F3751E5D73}" presName="sibTrans" presStyleCnt="0"/>
      <dgm:spPr/>
    </dgm:pt>
    <dgm:pt modelId="{245010FA-B1E5-41AC-9B22-1B3DEFC6DF23}" type="pres">
      <dgm:prSet presAssocID="{CA98AD68-E8CF-4DCE-AC03-0D7F94A5A280}" presName="node" presStyleLbl="node1" presStyleIdx="1" presStyleCnt="2" custScaleX="180443">
        <dgm:presLayoutVars>
          <dgm:bulletEnabled val="1"/>
        </dgm:presLayoutVars>
      </dgm:prSet>
      <dgm:spPr/>
    </dgm:pt>
  </dgm:ptLst>
  <dgm:cxnLst>
    <dgm:cxn modelId="{85DF390F-EE1E-4EF5-8852-B01D9DE5CA74}" type="presOf" srcId="{CA98AD68-E8CF-4DCE-AC03-0D7F94A5A280}" destId="{245010FA-B1E5-41AC-9B22-1B3DEFC6DF23}" srcOrd="0" destOrd="0" presId="urn:microsoft.com/office/officeart/2005/8/layout/default"/>
    <dgm:cxn modelId="{BDFBF23E-E387-419F-8EF1-8BA4552F4F78}" type="presOf" srcId="{E35168A8-BD4F-4788-84C2-E9625ACB9676}" destId="{01C3AB4F-D8F8-464D-8015-F811F4ED3AC9}" srcOrd="0" destOrd="0" presId="urn:microsoft.com/office/officeart/2005/8/layout/default"/>
    <dgm:cxn modelId="{C8AA6B41-3F0E-4917-A525-D496192F8E1E}" srcId="{76A2EBD9-C338-4668-B8C0-215DEDB30337}" destId="{CA98AD68-E8CF-4DCE-AC03-0D7F94A5A280}" srcOrd="1" destOrd="0" parTransId="{4C875559-14D6-4EA3-85C3-5EF4D70DF273}" sibTransId="{F95EAF98-459D-41BD-935F-04E1DB22B555}"/>
    <dgm:cxn modelId="{ABE4B16C-4F15-4C05-B645-9A5C95753A96}" srcId="{76A2EBD9-C338-4668-B8C0-215DEDB30337}" destId="{E35168A8-BD4F-4788-84C2-E9625ACB9676}" srcOrd="0" destOrd="0" parTransId="{C5286F9A-7143-48A5-A42F-1B63F6730914}" sibTransId="{960FDA8A-3C01-4875-BC50-75F3751E5D73}"/>
    <dgm:cxn modelId="{979586FE-E72D-440C-9E9A-B2AE85130407}" type="presOf" srcId="{76A2EBD9-C338-4668-B8C0-215DEDB30337}" destId="{01BAC276-C7FC-4438-B3C6-D6D391AEFB33}" srcOrd="0" destOrd="0" presId="urn:microsoft.com/office/officeart/2005/8/layout/default"/>
    <dgm:cxn modelId="{21CC8B4F-25EB-42A9-9848-9EAD7212946D}" type="presParOf" srcId="{01BAC276-C7FC-4438-B3C6-D6D391AEFB33}" destId="{01C3AB4F-D8F8-464D-8015-F811F4ED3AC9}" srcOrd="0" destOrd="0" presId="urn:microsoft.com/office/officeart/2005/8/layout/default"/>
    <dgm:cxn modelId="{90D2A197-A334-4017-8C29-B3EFBC8795FD}" type="presParOf" srcId="{01BAC276-C7FC-4438-B3C6-D6D391AEFB33}" destId="{95523480-7373-45D4-9DDB-5DD254678324}" srcOrd="1" destOrd="0" presId="urn:microsoft.com/office/officeart/2005/8/layout/default"/>
    <dgm:cxn modelId="{E69E888A-1799-409C-A41B-231A36CE62B7}" type="presParOf" srcId="{01BAC276-C7FC-4438-B3C6-D6D391AEFB33}" destId="{245010FA-B1E5-41AC-9B22-1B3DEFC6DF2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6014214-09E0-44EF-A026-24DA846E845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F0050E2-C0DB-4B11-8B46-D8CC8B708015}">
      <dgm:prSet/>
      <dgm:spPr/>
      <dgm:t>
        <a:bodyPr/>
        <a:lstStyle/>
        <a:p>
          <a:r>
            <a:rPr lang="en-AU" baseline="0"/>
            <a:t>UNIQUE constraint</a:t>
          </a:r>
          <a:endParaRPr lang="en-US"/>
        </a:p>
      </dgm:t>
    </dgm:pt>
    <dgm:pt modelId="{3B71C4E9-994A-4F76-9257-F582D36EB9EC}" type="parTrans" cxnId="{B909F07F-67DC-4839-A34E-A5E3D5B31EC7}">
      <dgm:prSet/>
      <dgm:spPr/>
      <dgm:t>
        <a:bodyPr/>
        <a:lstStyle/>
        <a:p>
          <a:endParaRPr lang="en-US"/>
        </a:p>
      </dgm:t>
    </dgm:pt>
    <dgm:pt modelId="{070564C0-6D77-4B00-9055-211CDAF7699C}" type="sibTrans" cxnId="{B909F07F-67DC-4839-A34E-A5E3D5B31EC7}">
      <dgm:prSet/>
      <dgm:spPr/>
      <dgm:t>
        <a:bodyPr/>
        <a:lstStyle/>
        <a:p>
          <a:endParaRPr lang="en-US"/>
        </a:p>
      </dgm:t>
    </dgm:pt>
    <dgm:pt modelId="{427C0188-479E-4F36-8A8A-C7E444E8BE29}">
      <dgm:prSet custT="1"/>
      <dgm:spPr/>
      <dgm:t>
        <a:bodyPr/>
        <a:lstStyle/>
        <a:p>
          <a:r>
            <a:rPr lang="en-AU" sz="1600" baseline="0"/>
            <a:t>DISTINCT property can be ignored</a:t>
          </a:r>
          <a:endParaRPr lang="en-US" sz="1600"/>
        </a:p>
      </dgm:t>
    </dgm:pt>
    <dgm:pt modelId="{B60120EB-8295-4040-8742-8FE1E8FC34F2}" type="parTrans" cxnId="{792AC5CE-C4F5-438D-B68F-6FCAA52E7FE4}">
      <dgm:prSet/>
      <dgm:spPr/>
      <dgm:t>
        <a:bodyPr/>
        <a:lstStyle/>
        <a:p>
          <a:endParaRPr lang="en-US"/>
        </a:p>
      </dgm:t>
    </dgm:pt>
    <dgm:pt modelId="{E33364C7-189C-4739-94F4-5F3AD91FA856}" type="sibTrans" cxnId="{792AC5CE-C4F5-438D-B68F-6FCAA52E7FE4}">
      <dgm:prSet/>
      <dgm:spPr/>
      <dgm:t>
        <a:bodyPr/>
        <a:lstStyle/>
        <a:p>
          <a:endParaRPr lang="en-US"/>
        </a:p>
      </dgm:t>
    </dgm:pt>
    <dgm:pt modelId="{66921189-3A1E-4B29-B0C6-AF37389E3583}">
      <dgm:prSet custT="1"/>
      <dgm:spPr/>
      <dgm:t>
        <a:bodyPr/>
        <a:lstStyle/>
        <a:p>
          <a:r>
            <a:rPr lang="en-AU" sz="1600" baseline="0"/>
            <a:t>Extra columns in ORDER BY may be ignored</a:t>
          </a:r>
          <a:endParaRPr lang="en-US" sz="1600"/>
        </a:p>
      </dgm:t>
    </dgm:pt>
    <dgm:pt modelId="{0DE432C8-4BC7-407C-B7CA-514F6D2ED56C}" type="parTrans" cxnId="{418CCE38-8433-4F2C-9436-C5636F86651B}">
      <dgm:prSet/>
      <dgm:spPr/>
      <dgm:t>
        <a:bodyPr/>
        <a:lstStyle/>
        <a:p>
          <a:endParaRPr lang="en-US"/>
        </a:p>
      </dgm:t>
    </dgm:pt>
    <dgm:pt modelId="{5AB57252-7EAE-415F-9289-B18460A6C9A7}" type="sibTrans" cxnId="{418CCE38-8433-4F2C-9436-C5636F86651B}">
      <dgm:prSet/>
      <dgm:spPr/>
      <dgm:t>
        <a:bodyPr/>
        <a:lstStyle/>
        <a:p>
          <a:endParaRPr lang="en-US"/>
        </a:p>
      </dgm:t>
    </dgm:pt>
    <dgm:pt modelId="{F6E8BC69-F581-4458-BAD5-71D810296777}">
      <dgm:prSet/>
      <dgm:spPr/>
      <dgm:t>
        <a:bodyPr/>
        <a:lstStyle/>
        <a:p>
          <a:r>
            <a:rPr lang="en-AU" baseline="0"/>
            <a:t>CHECK constraint</a:t>
          </a:r>
          <a:endParaRPr lang="en-US"/>
        </a:p>
      </dgm:t>
    </dgm:pt>
    <dgm:pt modelId="{C90FDDB5-4078-4852-981E-61525CEF43A5}" type="parTrans" cxnId="{79DA710C-ACF5-4C85-9D51-4489C277758F}">
      <dgm:prSet/>
      <dgm:spPr/>
      <dgm:t>
        <a:bodyPr/>
        <a:lstStyle/>
        <a:p>
          <a:endParaRPr lang="en-US"/>
        </a:p>
      </dgm:t>
    </dgm:pt>
    <dgm:pt modelId="{97F87E72-E9A0-41EF-8C9F-1421A9C30F95}" type="sibTrans" cxnId="{79DA710C-ACF5-4C85-9D51-4489C277758F}">
      <dgm:prSet/>
      <dgm:spPr/>
      <dgm:t>
        <a:bodyPr/>
        <a:lstStyle/>
        <a:p>
          <a:endParaRPr lang="en-US"/>
        </a:p>
      </dgm:t>
    </dgm:pt>
    <dgm:pt modelId="{F0A4B66C-8493-43E1-9FD5-90B41984A799}">
      <dgm:prSet custT="1"/>
      <dgm:spPr/>
      <dgm:t>
        <a:bodyPr/>
        <a:lstStyle/>
        <a:p>
          <a:r>
            <a:rPr lang="en-US" sz="1600" b="0" i="0"/>
            <a:t>CHECK constraints enforce domain integrity by limiting the values that are accepted by one or more columns.</a:t>
          </a:r>
          <a:endParaRPr lang="en-US" sz="1600"/>
        </a:p>
      </dgm:t>
    </dgm:pt>
    <dgm:pt modelId="{26180891-784D-493A-924D-34869C0D6918}" type="parTrans" cxnId="{DB37A0B8-85CE-4F44-8DDB-E2B69E62998A}">
      <dgm:prSet/>
      <dgm:spPr/>
      <dgm:t>
        <a:bodyPr/>
        <a:lstStyle/>
        <a:p>
          <a:endParaRPr lang="en-US"/>
        </a:p>
      </dgm:t>
    </dgm:pt>
    <dgm:pt modelId="{C3F3ACBB-991C-4D72-B1CE-390C48FFA882}" type="sibTrans" cxnId="{DB37A0B8-85CE-4F44-8DDB-E2B69E62998A}">
      <dgm:prSet/>
      <dgm:spPr/>
      <dgm:t>
        <a:bodyPr/>
        <a:lstStyle/>
        <a:p>
          <a:endParaRPr lang="en-US"/>
        </a:p>
      </dgm:t>
    </dgm:pt>
    <dgm:pt modelId="{EC727CE9-B92F-4DB5-AB3C-639EA1C0CEFB}">
      <dgm:prSet/>
      <dgm:spPr/>
      <dgm:t>
        <a:bodyPr/>
        <a:lstStyle/>
        <a:p>
          <a:r>
            <a:rPr lang="en-AU" baseline="0"/>
            <a:t>Primary Key</a:t>
          </a:r>
          <a:endParaRPr lang="en-US"/>
        </a:p>
      </dgm:t>
    </dgm:pt>
    <dgm:pt modelId="{786CBC6E-6ADB-4F70-9B0A-81F06AF77A50}" type="parTrans" cxnId="{8A96DC7F-D87F-41F9-A48A-0D642F400F0E}">
      <dgm:prSet/>
      <dgm:spPr/>
      <dgm:t>
        <a:bodyPr/>
        <a:lstStyle/>
        <a:p>
          <a:endParaRPr lang="en-US"/>
        </a:p>
      </dgm:t>
    </dgm:pt>
    <dgm:pt modelId="{EEE17D15-61C9-4CB2-93F3-1E53CA166B84}" type="sibTrans" cxnId="{8A96DC7F-D87F-41F9-A48A-0D642F400F0E}">
      <dgm:prSet/>
      <dgm:spPr/>
      <dgm:t>
        <a:bodyPr/>
        <a:lstStyle/>
        <a:p>
          <a:endParaRPr lang="en-US"/>
        </a:p>
      </dgm:t>
    </dgm:pt>
    <dgm:pt modelId="{2DA95175-BEA2-467C-9315-097FFA223DAB}">
      <dgm:prSet custT="1"/>
      <dgm:spPr/>
      <dgm:t>
        <a:bodyPr/>
        <a:lstStyle/>
        <a:p>
          <a:r>
            <a:rPr lang="en-AU" sz="1600" baseline="0"/>
            <a:t>Special case of UNIQUE constraint</a:t>
          </a:r>
          <a:endParaRPr lang="en-US" sz="1600"/>
        </a:p>
      </dgm:t>
    </dgm:pt>
    <dgm:pt modelId="{A675351B-3D0C-4846-BA68-D0101424E165}" type="parTrans" cxnId="{233A18A6-CB70-4A10-BC53-CFAE2A7C6DA9}">
      <dgm:prSet/>
      <dgm:spPr/>
      <dgm:t>
        <a:bodyPr/>
        <a:lstStyle/>
        <a:p>
          <a:endParaRPr lang="en-US"/>
        </a:p>
      </dgm:t>
    </dgm:pt>
    <dgm:pt modelId="{5C1DAA39-1BDD-4192-ABCE-B0C186E48B6D}" type="sibTrans" cxnId="{233A18A6-CB70-4A10-BC53-CFAE2A7C6DA9}">
      <dgm:prSet/>
      <dgm:spPr/>
      <dgm:t>
        <a:bodyPr/>
        <a:lstStyle/>
        <a:p>
          <a:endParaRPr lang="en-US"/>
        </a:p>
      </dgm:t>
    </dgm:pt>
    <dgm:pt modelId="{1C6B589B-273F-4D41-BB32-C4FA211F52D2}">
      <dgm:prSet/>
      <dgm:spPr/>
      <dgm:t>
        <a:bodyPr/>
        <a:lstStyle/>
        <a:p>
          <a:r>
            <a:rPr lang="en-AU" baseline="0"/>
            <a:t>Foreign Key</a:t>
          </a:r>
          <a:endParaRPr lang="en-US"/>
        </a:p>
      </dgm:t>
    </dgm:pt>
    <dgm:pt modelId="{94B996B8-BA1F-4681-9822-9561FA7E4642}" type="parTrans" cxnId="{9A46EE08-FFFB-47A2-8530-EAACBF33C0CA}">
      <dgm:prSet/>
      <dgm:spPr/>
      <dgm:t>
        <a:bodyPr/>
        <a:lstStyle/>
        <a:p>
          <a:endParaRPr lang="en-US"/>
        </a:p>
      </dgm:t>
    </dgm:pt>
    <dgm:pt modelId="{31003926-11FF-49C5-816F-CD5D806C1197}" type="sibTrans" cxnId="{9A46EE08-FFFB-47A2-8530-EAACBF33C0CA}">
      <dgm:prSet/>
      <dgm:spPr/>
      <dgm:t>
        <a:bodyPr/>
        <a:lstStyle/>
        <a:p>
          <a:endParaRPr lang="en-US"/>
        </a:p>
      </dgm:t>
    </dgm:pt>
    <dgm:pt modelId="{66DE0699-C821-41DC-9C14-D2313A35D439}">
      <dgm:prSet custT="1"/>
      <dgm:spPr/>
      <dgm:t>
        <a:bodyPr/>
        <a:lstStyle/>
        <a:p>
          <a:r>
            <a:rPr lang="en-AU" sz="1600" baseline="0"/>
            <a:t>Declarative Referential Integrity (DRI)</a:t>
          </a:r>
          <a:endParaRPr lang="en-US" sz="1600"/>
        </a:p>
      </dgm:t>
    </dgm:pt>
    <dgm:pt modelId="{3B64AF24-BE01-40C4-A08C-0A4D018E9D2F}" type="parTrans" cxnId="{C396CD9A-B3B1-4227-A6B8-F3EA187EC6FB}">
      <dgm:prSet/>
      <dgm:spPr/>
      <dgm:t>
        <a:bodyPr/>
        <a:lstStyle/>
        <a:p>
          <a:endParaRPr lang="en-US"/>
        </a:p>
      </dgm:t>
    </dgm:pt>
    <dgm:pt modelId="{D860D09B-E54F-4745-964B-D43C359627A2}" type="sibTrans" cxnId="{C396CD9A-B3B1-4227-A6B8-F3EA187EC6FB}">
      <dgm:prSet/>
      <dgm:spPr/>
      <dgm:t>
        <a:bodyPr/>
        <a:lstStyle/>
        <a:p>
          <a:endParaRPr lang="en-US"/>
        </a:p>
      </dgm:t>
    </dgm:pt>
    <dgm:pt modelId="{B821700F-A550-4217-9B1B-19E9A365A193}">
      <dgm:prSet custT="1"/>
      <dgm:spPr/>
      <dgm:t>
        <a:bodyPr/>
        <a:lstStyle/>
        <a:p>
          <a:r>
            <a:rPr lang="en-AU" sz="1600" baseline="0"/>
            <a:t>Usually faster than triggers</a:t>
          </a:r>
          <a:endParaRPr lang="en-US" sz="1600"/>
        </a:p>
      </dgm:t>
    </dgm:pt>
    <dgm:pt modelId="{A2F7EDBA-ED67-48E5-8490-BE635CFD7577}" type="parTrans" cxnId="{036471AF-B04B-44C3-831D-6DDD7BDB930F}">
      <dgm:prSet/>
      <dgm:spPr/>
      <dgm:t>
        <a:bodyPr/>
        <a:lstStyle/>
        <a:p>
          <a:endParaRPr lang="en-US"/>
        </a:p>
      </dgm:t>
    </dgm:pt>
    <dgm:pt modelId="{A55C1D79-E86E-460B-B20E-D8659B1B6979}" type="sibTrans" cxnId="{036471AF-B04B-44C3-831D-6DDD7BDB930F}">
      <dgm:prSet/>
      <dgm:spPr/>
      <dgm:t>
        <a:bodyPr/>
        <a:lstStyle/>
        <a:p>
          <a:endParaRPr lang="en-US"/>
        </a:p>
      </dgm:t>
    </dgm:pt>
    <dgm:pt modelId="{E427A56B-CA31-49E5-AABE-3CBD3A18A69E}">
      <dgm:prSet custT="1"/>
      <dgm:spPr/>
      <dgm:t>
        <a:bodyPr/>
        <a:lstStyle/>
        <a:p>
          <a:r>
            <a:rPr lang="en-AU" sz="1600" baseline="0"/>
            <a:t>Allows the query optimizer to identify unnecessary joins</a:t>
          </a:r>
          <a:endParaRPr lang="en-US" sz="1600"/>
        </a:p>
      </dgm:t>
    </dgm:pt>
    <dgm:pt modelId="{476744D2-EBF2-46CE-883B-8BDC40148748}" type="parTrans" cxnId="{E3165D35-A468-49BD-B201-3E7C8E8D4390}">
      <dgm:prSet/>
      <dgm:spPr/>
      <dgm:t>
        <a:bodyPr/>
        <a:lstStyle/>
        <a:p>
          <a:endParaRPr lang="en-US"/>
        </a:p>
      </dgm:t>
    </dgm:pt>
    <dgm:pt modelId="{5B71FEA8-98FF-4239-84BF-77B1B20EDCC1}" type="sibTrans" cxnId="{E3165D35-A468-49BD-B201-3E7C8E8D4390}">
      <dgm:prSet/>
      <dgm:spPr/>
      <dgm:t>
        <a:bodyPr/>
        <a:lstStyle/>
        <a:p>
          <a:endParaRPr lang="en-US"/>
        </a:p>
      </dgm:t>
    </dgm:pt>
    <dgm:pt modelId="{7D4C30E5-2572-4A59-BB5C-C2AA356C2A9D}" type="pres">
      <dgm:prSet presAssocID="{56014214-09E0-44EF-A026-24DA846E845D}" presName="Name0" presStyleCnt="0">
        <dgm:presLayoutVars>
          <dgm:dir/>
          <dgm:animLvl val="lvl"/>
          <dgm:resizeHandles val="exact"/>
        </dgm:presLayoutVars>
      </dgm:prSet>
      <dgm:spPr/>
    </dgm:pt>
    <dgm:pt modelId="{6A8FB35F-6EBC-4854-8624-AD9F4F71F5AC}" type="pres">
      <dgm:prSet presAssocID="{7F0050E2-C0DB-4B11-8B46-D8CC8B708015}" presName="linNode" presStyleCnt="0"/>
      <dgm:spPr/>
    </dgm:pt>
    <dgm:pt modelId="{18672B27-A6BE-4FCE-A681-6D1BC43E1967}" type="pres">
      <dgm:prSet presAssocID="{7F0050E2-C0DB-4B11-8B46-D8CC8B708015}" presName="parentText" presStyleLbl="node1" presStyleIdx="0" presStyleCnt="4">
        <dgm:presLayoutVars>
          <dgm:chMax val="1"/>
          <dgm:bulletEnabled val="1"/>
        </dgm:presLayoutVars>
      </dgm:prSet>
      <dgm:spPr/>
    </dgm:pt>
    <dgm:pt modelId="{88B92B9D-A5AF-4E9E-87F4-070BF93E13EC}" type="pres">
      <dgm:prSet presAssocID="{7F0050E2-C0DB-4B11-8B46-D8CC8B708015}" presName="descendantText" presStyleLbl="alignAccFollowNode1" presStyleIdx="0" presStyleCnt="4">
        <dgm:presLayoutVars>
          <dgm:bulletEnabled val="1"/>
        </dgm:presLayoutVars>
      </dgm:prSet>
      <dgm:spPr/>
    </dgm:pt>
    <dgm:pt modelId="{BF60B3ED-51C9-4014-AAAC-8398037A7F19}" type="pres">
      <dgm:prSet presAssocID="{070564C0-6D77-4B00-9055-211CDAF7699C}" presName="sp" presStyleCnt="0"/>
      <dgm:spPr/>
    </dgm:pt>
    <dgm:pt modelId="{CAEFDCEE-7D44-4308-B52E-D4E09D10DEA4}" type="pres">
      <dgm:prSet presAssocID="{F6E8BC69-F581-4458-BAD5-71D810296777}" presName="linNode" presStyleCnt="0"/>
      <dgm:spPr/>
    </dgm:pt>
    <dgm:pt modelId="{33E8B1D0-94EE-4798-8A77-AFCA75BD196B}" type="pres">
      <dgm:prSet presAssocID="{F6E8BC69-F581-4458-BAD5-71D810296777}" presName="parentText" presStyleLbl="node1" presStyleIdx="1" presStyleCnt="4">
        <dgm:presLayoutVars>
          <dgm:chMax val="1"/>
          <dgm:bulletEnabled val="1"/>
        </dgm:presLayoutVars>
      </dgm:prSet>
      <dgm:spPr/>
    </dgm:pt>
    <dgm:pt modelId="{5D60118C-FEB0-42E7-A589-854162413393}" type="pres">
      <dgm:prSet presAssocID="{F6E8BC69-F581-4458-BAD5-71D810296777}" presName="descendantText" presStyleLbl="alignAccFollowNode1" presStyleIdx="1" presStyleCnt="4">
        <dgm:presLayoutVars>
          <dgm:bulletEnabled val="1"/>
        </dgm:presLayoutVars>
      </dgm:prSet>
      <dgm:spPr/>
    </dgm:pt>
    <dgm:pt modelId="{B7FA8583-6C4F-41DB-8535-23FADE0FF37C}" type="pres">
      <dgm:prSet presAssocID="{97F87E72-E9A0-41EF-8C9F-1421A9C30F95}" presName="sp" presStyleCnt="0"/>
      <dgm:spPr/>
    </dgm:pt>
    <dgm:pt modelId="{D14EBC75-0333-49C3-A048-4C2B81AFBC55}" type="pres">
      <dgm:prSet presAssocID="{EC727CE9-B92F-4DB5-AB3C-639EA1C0CEFB}" presName="linNode" presStyleCnt="0"/>
      <dgm:spPr/>
    </dgm:pt>
    <dgm:pt modelId="{CA6718A8-5035-457F-840A-B57373C1D751}" type="pres">
      <dgm:prSet presAssocID="{EC727CE9-B92F-4DB5-AB3C-639EA1C0CEFB}" presName="parentText" presStyleLbl="node1" presStyleIdx="2" presStyleCnt="4">
        <dgm:presLayoutVars>
          <dgm:chMax val="1"/>
          <dgm:bulletEnabled val="1"/>
        </dgm:presLayoutVars>
      </dgm:prSet>
      <dgm:spPr/>
    </dgm:pt>
    <dgm:pt modelId="{E3F50297-C815-4AEB-BC7B-3D379A1D8FBA}" type="pres">
      <dgm:prSet presAssocID="{EC727CE9-B92F-4DB5-AB3C-639EA1C0CEFB}" presName="descendantText" presStyleLbl="alignAccFollowNode1" presStyleIdx="2" presStyleCnt="4">
        <dgm:presLayoutVars>
          <dgm:bulletEnabled val="1"/>
        </dgm:presLayoutVars>
      </dgm:prSet>
      <dgm:spPr/>
    </dgm:pt>
    <dgm:pt modelId="{27EB5D3E-FA98-487B-BE4F-BA739619B87D}" type="pres">
      <dgm:prSet presAssocID="{EEE17D15-61C9-4CB2-93F3-1E53CA166B84}" presName="sp" presStyleCnt="0"/>
      <dgm:spPr/>
    </dgm:pt>
    <dgm:pt modelId="{1278EE08-5C31-4E04-ADCF-00D3501C41FC}" type="pres">
      <dgm:prSet presAssocID="{1C6B589B-273F-4D41-BB32-C4FA211F52D2}" presName="linNode" presStyleCnt="0"/>
      <dgm:spPr/>
    </dgm:pt>
    <dgm:pt modelId="{1042B6E9-CB62-4628-BBA4-005FF68B93D7}" type="pres">
      <dgm:prSet presAssocID="{1C6B589B-273F-4D41-BB32-C4FA211F52D2}" presName="parentText" presStyleLbl="node1" presStyleIdx="3" presStyleCnt="4">
        <dgm:presLayoutVars>
          <dgm:chMax val="1"/>
          <dgm:bulletEnabled val="1"/>
        </dgm:presLayoutVars>
      </dgm:prSet>
      <dgm:spPr/>
    </dgm:pt>
    <dgm:pt modelId="{00982988-5065-4C79-BF9E-52765E3DC6ED}" type="pres">
      <dgm:prSet presAssocID="{1C6B589B-273F-4D41-BB32-C4FA211F52D2}" presName="descendantText" presStyleLbl="alignAccFollowNode1" presStyleIdx="3" presStyleCnt="4" custLinFactNeighborY="0">
        <dgm:presLayoutVars>
          <dgm:bulletEnabled val="1"/>
        </dgm:presLayoutVars>
      </dgm:prSet>
      <dgm:spPr/>
    </dgm:pt>
  </dgm:ptLst>
  <dgm:cxnLst>
    <dgm:cxn modelId="{9A46EE08-FFFB-47A2-8530-EAACBF33C0CA}" srcId="{56014214-09E0-44EF-A026-24DA846E845D}" destId="{1C6B589B-273F-4D41-BB32-C4FA211F52D2}" srcOrd="3" destOrd="0" parTransId="{94B996B8-BA1F-4681-9822-9561FA7E4642}" sibTransId="{31003926-11FF-49C5-816F-CD5D806C1197}"/>
    <dgm:cxn modelId="{79DA710C-ACF5-4C85-9D51-4489C277758F}" srcId="{56014214-09E0-44EF-A026-24DA846E845D}" destId="{F6E8BC69-F581-4458-BAD5-71D810296777}" srcOrd="1" destOrd="0" parTransId="{C90FDDB5-4078-4852-981E-61525CEF43A5}" sibTransId="{97F87E72-E9A0-41EF-8C9F-1421A9C30F95}"/>
    <dgm:cxn modelId="{E3165D35-A468-49BD-B201-3E7C8E8D4390}" srcId="{1C6B589B-273F-4D41-BB32-C4FA211F52D2}" destId="{E427A56B-CA31-49E5-AABE-3CBD3A18A69E}" srcOrd="2" destOrd="0" parTransId="{476744D2-EBF2-46CE-883B-8BDC40148748}" sibTransId="{5B71FEA8-98FF-4239-84BF-77B1B20EDCC1}"/>
    <dgm:cxn modelId="{418CCE38-8433-4F2C-9436-C5636F86651B}" srcId="{7F0050E2-C0DB-4B11-8B46-D8CC8B708015}" destId="{66921189-3A1E-4B29-B0C6-AF37389E3583}" srcOrd="1" destOrd="0" parTransId="{0DE432C8-4BC7-407C-B7CA-514F6D2ED56C}" sibTransId="{5AB57252-7EAE-415F-9289-B18460A6C9A7}"/>
    <dgm:cxn modelId="{8EF7AC5B-E600-48E2-AC26-371199070E45}" type="presOf" srcId="{56014214-09E0-44EF-A026-24DA846E845D}" destId="{7D4C30E5-2572-4A59-BB5C-C2AA356C2A9D}" srcOrd="0" destOrd="0" presId="urn:microsoft.com/office/officeart/2005/8/layout/vList5"/>
    <dgm:cxn modelId="{B73DFF65-45D6-45FF-8822-031C5F834292}" type="presOf" srcId="{1C6B589B-273F-4D41-BB32-C4FA211F52D2}" destId="{1042B6E9-CB62-4628-BBA4-005FF68B93D7}" srcOrd="0" destOrd="0" presId="urn:microsoft.com/office/officeart/2005/8/layout/vList5"/>
    <dgm:cxn modelId="{274F436A-D13C-453B-9CAE-AF53667145F7}" type="presOf" srcId="{7F0050E2-C0DB-4B11-8B46-D8CC8B708015}" destId="{18672B27-A6BE-4FCE-A681-6D1BC43E1967}" srcOrd="0" destOrd="0" presId="urn:microsoft.com/office/officeart/2005/8/layout/vList5"/>
    <dgm:cxn modelId="{55EBF054-7182-4B91-A755-91C65E100693}" type="presOf" srcId="{F0A4B66C-8493-43E1-9FD5-90B41984A799}" destId="{5D60118C-FEB0-42E7-A589-854162413393}" srcOrd="0" destOrd="0" presId="urn:microsoft.com/office/officeart/2005/8/layout/vList5"/>
    <dgm:cxn modelId="{8A96DC7F-D87F-41F9-A48A-0D642F400F0E}" srcId="{56014214-09E0-44EF-A026-24DA846E845D}" destId="{EC727CE9-B92F-4DB5-AB3C-639EA1C0CEFB}" srcOrd="2" destOrd="0" parTransId="{786CBC6E-6ADB-4F70-9B0A-81F06AF77A50}" sibTransId="{EEE17D15-61C9-4CB2-93F3-1E53CA166B84}"/>
    <dgm:cxn modelId="{B909F07F-67DC-4839-A34E-A5E3D5B31EC7}" srcId="{56014214-09E0-44EF-A026-24DA846E845D}" destId="{7F0050E2-C0DB-4B11-8B46-D8CC8B708015}" srcOrd="0" destOrd="0" parTransId="{3B71C4E9-994A-4F76-9257-F582D36EB9EC}" sibTransId="{070564C0-6D77-4B00-9055-211CDAF7699C}"/>
    <dgm:cxn modelId="{C396CD9A-B3B1-4227-A6B8-F3EA187EC6FB}" srcId="{1C6B589B-273F-4D41-BB32-C4FA211F52D2}" destId="{66DE0699-C821-41DC-9C14-D2313A35D439}" srcOrd="0" destOrd="0" parTransId="{3B64AF24-BE01-40C4-A08C-0A4D018E9D2F}" sibTransId="{D860D09B-E54F-4745-964B-D43C359627A2}"/>
    <dgm:cxn modelId="{8EEA999C-7D64-4082-87D7-FC535A4AB126}" type="presOf" srcId="{B821700F-A550-4217-9B1B-19E9A365A193}" destId="{00982988-5065-4C79-BF9E-52765E3DC6ED}" srcOrd="0" destOrd="1" presId="urn:microsoft.com/office/officeart/2005/8/layout/vList5"/>
    <dgm:cxn modelId="{370CA79C-3913-4B4D-9EC9-8A1A3F7C6816}" type="presOf" srcId="{2DA95175-BEA2-467C-9315-097FFA223DAB}" destId="{E3F50297-C815-4AEB-BC7B-3D379A1D8FBA}" srcOrd="0" destOrd="0" presId="urn:microsoft.com/office/officeart/2005/8/layout/vList5"/>
    <dgm:cxn modelId="{8499D19C-65D0-44E0-B934-33BAA9F93694}" type="presOf" srcId="{F6E8BC69-F581-4458-BAD5-71D810296777}" destId="{33E8B1D0-94EE-4798-8A77-AFCA75BD196B}" srcOrd="0" destOrd="0" presId="urn:microsoft.com/office/officeart/2005/8/layout/vList5"/>
    <dgm:cxn modelId="{13F61F9F-BDFE-46C2-BF4E-D7441C8658F8}" type="presOf" srcId="{66DE0699-C821-41DC-9C14-D2313A35D439}" destId="{00982988-5065-4C79-BF9E-52765E3DC6ED}" srcOrd="0" destOrd="0" presId="urn:microsoft.com/office/officeart/2005/8/layout/vList5"/>
    <dgm:cxn modelId="{233A18A6-CB70-4A10-BC53-CFAE2A7C6DA9}" srcId="{EC727CE9-B92F-4DB5-AB3C-639EA1C0CEFB}" destId="{2DA95175-BEA2-467C-9315-097FFA223DAB}" srcOrd="0" destOrd="0" parTransId="{A675351B-3D0C-4846-BA68-D0101424E165}" sibTransId="{5C1DAA39-1BDD-4192-ABCE-B0C186E48B6D}"/>
    <dgm:cxn modelId="{7A2BA2AD-0ABC-4931-88FC-6C10DAC43BE6}" type="presOf" srcId="{427C0188-479E-4F36-8A8A-C7E444E8BE29}" destId="{88B92B9D-A5AF-4E9E-87F4-070BF93E13EC}" srcOrd="0" destOrd="0" presId="urn:microsoft.com/office/officeart/2005/8/layout/vList5"/>
    <dgm:cxn modelId="{036471AF-B04B-44C3-831D-6DDD7BDB930F}" srcId="{1C6B589B-273F-4D41-BB32-C4FA211F52D2}" destId="{B821700F-A550-4217-9B1B-19E9A365A193}" srcOrd="1" destOrd="0" parTransId="{A2F7EDBA-ED67-48E5-8490-BE635CFD7577}" sibTransId="{A55C1D79-E86E-460B-B20E-D8659B1B6979}"/>
    <dgm:cxn modelId="{DB37A0B8-85CE-4F44-8DDB-E2B69E62998A}" srcId="{F6E8BC69-F581-4458-BAD5-71D810296777}" destId="{F0A4B66C-8493-43E1-9FD5-90B41984A799}" srcOrd="0" destOrd="0" parTransId="{26180891-784D-493A-924D-34869C0D6918}" sibTransId="{C3F3ACBB-991C-4D72-B1CE-390C48FFA882}"/>
    <dgm:cxn modelId="{69B8E9BB-B904-4BCA-8296-A55B96AC2633}" type="presOf" srcId="{66921189-3A1E-4B29-B0C6-AF37389E3583}" destId="{88B92B9D-A5AF-4E9E-87F4-070BF93E13EC}" srcOrd="0" destOrd="1" presId="urn:microsoft.com/office/officeart/2005/8/layout/vList5"/>
    <dgm:cxn modelId="{792AC5CE-C4F5-438D-B68F-6FCAA52E7FE4}" srcId="{7F0050E2-C0DB-4B11-8B46-D8CC8B708015}" destId="{427C0188-479E-4F36-8A8A-C7E444E8BE29}" srcOrd="0" destOrd="0" parTransId="{B60120EB-8295-4040-8742-8FE1E8FC34F2}" sibTransId="{E33364C7-189C-4739-94F4-5F3AD91FA856}"/>
    <dgm:cxn modelId="{178C8BDA-0329-4782-AB28-A360DFBEB522}" type="presOf" srcId="{EC727CE9-B92F-4DB5-AB3C-639EA1C0CEFB}" destId="{CA6718A8-5035-457F-840A-B57373C1D751}" srcOrd="0" destOrd="0" presId="urn:microsoft.com/office/officeart/2005/8/layout/vList5"/>
    <dgm:cxn modelId="{E1CDF2E6-25CA-40EE-BAC0-53D5F2C27047}" type="presOf" srcId="{E427A56B-CA31-49E5-AABE-3CBD3A18A69E}" destId="{00982988-5065-4C79-BF9E-52765E3DC6ED}" srcOrd="0" destOrd="2" presId="urn:microsoft.com/office/officeart/2005/8/layout/vList5"/>
    <dgm:cxn modelId="{74065450-2B77-46B9-8368-B1C4F2ECA559}" type="presParOf" srcId="{7D4C30E5-2572-4A59-BB5C-C2AA356C2A9D}" destId="{6A8FB35F-6EBC-4854-8624-AD9F4F71F5AC}" srcOrd="0" destOrd="0" presId="urn:microsoft.com/office/officeart/2005/8/layout/vList5"/>
    <dgm:cxn modelId="{4F088A2E-A5C7-423D-891F-21C7DA196332}" type="presParOf" srcId="{6A8FB35F-6EBC-4854-8624-AD9F4F71F5AC}" destId="{18672B27-A6BE-4FCE-A681-6D1BC43E1967}" srcOrd="0" destOrd="0" presId="urn:microsoft.com/office/officeart/2005/8/layout/vList5"/>
    <dgm:cxn modelId="{74922015-1268-49D5-8F80-6B0CD04481F3}" type="presParOf" srcId="{6A8FB35F-6EBC-4854-8624-AD9F4F71F5AC}" destId="{88B92B9D-A5AF-4E9E-87F4-070BF93E13EC}" srcOrd="1" destOrd="0" presId="urn:microsoft.com/office/officeart/2005/8/layout/vList5"/>
    <dgm:cxn modelId="{418D3E1F-AB47-4E27-A912-527917906577}" type="presParOf" srcId="{7D4C30E5-2572-4A59-BB5C-C2AA356C2A9D}" destId="{BF60B3ED-51C9-4014-AAAC-8398037A7F19}" srcOrd="1" destOrd="0" presId="urn:microsoft.com/office/officeart/2005/8/layout/vList5"/>
    <dgm:cxn modelId="{B174CA8B-9164-4914-B213-0C57C300AE2C}" type="presParOf" srcId="{7D4C30E5-2572-4A59-BB5C-C2AA356C2A9D}" destId="{CAEFDCEE-7D44-4308-B52E-D4E09D10DEA4}" srcOrd="2" destOrd="0" presId="urn:microsoft.com/office/officeart/2005/8/layout/vList5"/>
    <dgm:cxn modelId="{A41B9973-D057-4340-9D6F-398F8EDFD813}" type="presParOf" srcId="{CAEFDCEE-7D44-4308-B52E-D4E09D10DEA4}" destId="{33E8B1D0-94EE-4798-8A77-AFCA75BD196B}" srcOrd="0" destOrd="0" presId="urn:microsoft.com/office/officeart/2005/8/layout/vList5"/>
    <dgm:cxn modelId="{E5898CAE-8228-4465-9212-BB74D4439E34}" type="presParOf" srcId="{CAEFDCEE-7D44-4308-B52E-D4E09D10DEA4}" destId="{5D60118C-FEB0-42E7-A589-854162413393}" srcOrd="1" destOrd="0" presId="urn:microsoft.com/office/officeart/2005/8/layout/vList5"/>
    <dgm:cxn modelId="{3EA6EB24-02B2-49B4-8654-5EB551C3F678}" type="presParOf" srcId="{7D4C30E5-2572-4A59-BB5C-C2AA356C2A9D}" destId="{B7FA8583-6C4F-41DB-8535-23FADE0FF37C}" srcOrd="3" destOrd="0" presId="urn:microsoft.com/office/officeart/2005/8/layout/vList5"/>
    <dgm:cxn modelId="{70295CCD-D550-48C4-9A2B-8514336B936D}" type="presParOf" srcId="{7D4C30E5-2572-4A59-BB5C-C2AA356C2A9D}" destId="{D14EBC75-0333-49C3-A048-4C2B81AFBC55}" srcOrd="4" destOrd="0" presId="urn:microsoft.com/office/officeart/2005/8/layout/vList5"/>
    <dgm:cxn modelId="{F49957E5-E486-4F37-AB12-D544C8881139}" type="presParOf" srcId="{D14EBC75-0333-49C3-A048-4C2B81AFBC55}" destId="{CA6718A8-5035-457F-840A-B57373C1D751}" srcOrd="0" destOrd="0" presId="urn:microsoft.com/office/officeart/2005/8/layout/vList5"/>
    <dgm:cxn modelId="{62133464-0FB2-411F-B979-65B2E23AF7FA}" type="presParOf" srcId="{D14EBC75-0333-49C3-A048-4C2B81AFBC55}" destId="{E3F50297-C815-4AEB-BC7B-3D379A1D8FBA}" srcOrd="1" destOrd="0" presId="urn:microsoft.com/office/officeart/2005/8/layout/vList5"/>
    <dgm:cxn modelId="{02BF9A3F-B60C-44CA-A0D9-9E8BED4116D3}" type="presParOf" srcId="{7D4C30E5-2572-4A59-BB5C-C2AA356C2A9D}" destId="{27EB5D3E-FA98-487B-BE4F-BA739619B87D}" srcOrd="5" destOrd="0" presId="urn:microsoft.com/office/officeart/2005/8/layout/vList5"/>
    <dgm:cxn modelId="{6B141B50-E936-4221-852E-127C6974DE22}" type="presParOf" srcId="{7D4C30E5-2572-4A59-BB5C-C2AA356C2A9D}" destId="{1278EE08-5C31-4E04-ADCF-00D3501C41FC}" srcOrd="6" destOrd="0" presId="urn:microsoft.com/office/officeart/2005/8/layout/vList5"/>
    <dgm:cxn modelId="{A2490B6A-7D7C-4DC2-9124-4AF7D9C6ECF3}" type="presParOf" srcId="{1278EE08-5C31-4E04-ADCF-00D3501C41FC}" destId="{1042B6E9-CB62-4628-BBA4-005FF68B93D7}" srcOrd="0" destOrd="0" presId="urn:microsoft.com/office/officeart/2005/8/layout/vList5"/>
    <dgm:cxn modelId="{A7B61968-BE8D-4F31-9960-77E20B9D25A7}" type="presParOf" srcId="{1278EE08-5C31-4E04-ADCF-00D3501C41FC}" destId="{00982988-5065-4C79-BF9E-52765E3DC6E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378EA48-B9E6-4EE9-A136-7586B3406A8C}"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73E7C8C3-C57C-4841-A842-90F986E0491B}">
      <dgm:prSet/>
      <dgm:spPr/>
      <dgm:t>
        <a:bodyPr/>
        <a:lstStyle/>
        <a:p>
          <a:r>
            <a:rPr lang="en-US" baseline="0"/>
            <a:t>SQL Server "sniffs" current parameter values during compilation or recompilation.</a:t>
          </a:r>
          <a:endParaRPr lang="en-US"/>
        </a:p>
      </dgm:t>
    </dgm:pt>
    <dgm:pt modelId="{823253BF-2212-4647-BA40-2E72AA351FD1}" type="parTrans" cxnId="{E28182B1-9438-440B-911D-9585856AF9F7}">
      <dgm:prSet/>
      <dgm:spPr/>
      <dgm:t>
        <a:bodyPr/>
        <a:lstStyle/>
        <a:p>
          <a:endParaRPr lang="en-US"/>
        </a:p>
      </dgm:t>
    </dgm:pt>
    <dgm:pt modelId="{35BBD532-B3A3-4023-9A26-C4237D32DD0F}" type="sibTrans" cxnId="{E28182B1-9438-440B-911D-9585856AF9F7}">
      <dgm:prSet/>
      <dgm:spPr/>
      <dgm:t>
        <a:bodyPr/>
        <a:lstStyle/>
        <a:p>
          <a:endParaRPr lang="en-US"/>
        </a:p>
      </dgm:t>
    </dgm:pt>
    <dgm:pt modelId="{B7398013-385F-4A9F-9FD2-A8A184429515}">
      <dgm:prSet/>
      <dgm:spPr/>
      <dgm:t>
        <a:bodyPr/>
        <a:lstStyle/>
        <a:p>
          <a:r>
            <a:rPr lang="en-US" baseline="0"/>
            <a:t>Parameter values are passed along to Query Optimizer, generating a more efficient execution plan.</a:t>
          </a:r>
          <a:endParaRPr lang="en-US"/>
        </a:p>
      </dgm:t>
    </dgm:pt>
    <dgm:pt modelId="{E418AFA6-E301-4D7F-B079-9254E0B3EC70}" type="parTrans" cxnId="{28D2EB62-C715-4583-9B78-5ADB5ACDA98D}">
      <dgm:prSet/>
      <dgm:spPr/>
      <dgm:t>
        <a:bodyPr/>
        <a:lstStyle/>
        <a:p>
          <a:endParaRPr lang="en-US"/>
        </a:p>
      </dgm:t>
    </dgm:pt>
    <dgm:pt modelId="{64B85483-562B-4E04-B499-2B9E07C4DA8B}" type="sibTrans" cxnId="{28D2EB62-C715-4583-9B78-5ADB5ACDA98D}">
      <dgm:prSet/>
      <dgm:spPr/>
      <dgm:t>
        <a:bodyPr/>
        <a:lstStyle/>
        <a:p>
          <a:endParaRPr lang="en-US"/>
        </a:p>
      </dgm:t>
    </dgm:pt>
    <dgm:pt modelId="{A915D8F1-C6F8-403E-97BD-10CBD02BD2C2}">
      <dgm:prSet/>
      <dgm:spPr/>
      <dgm:t>
        <a:bodyPr/>
        <a:lstStyle/>
        <a:p>
          <a:r>
            <a:rPr lang="en-US" baseline="0"/>
            <a:t>The generated plan stays in query cache.</a:t>
          </a:r>
          <a:endParaRPr lang="en-US"/>
        </a:p>
      </dgm:t>
    </dgm:pt>
    <dgm:pt modelId="{32CF7ABE-F1E7-4640-AC2C-0B58E085ABC6}" type="parTrans" cxnId="{3EA9BBD9-5A56-4F12-9691-0A93D61BBFC7}">
      <dgm:prSet/>
      <dgm:spPr/>
      <dgm:t>
        <a:bodyPr/>
        <a:lstStyle/>
        <a:p>
          <a:endParaRPr lang="en-US"/>
        </a:p>
      </dgm:t>
    </dgm:pt>
    <dgm:pt modelId="{553EE187-3E22-440A-94CB-BF2214B5BDB9}" type="sibTrans" cxnId="{3EA9BBD9-5A56-4F12-9691-0A93D61BBFC7}">
      <dgm:prSet/>
      <dgm:spPr/>
      <dgm:t>
        <a:bodyPr/>
        <a:lstStyle/>
        <a:p>
          <a:endParaRPr lang="en-US"/>
        </a:p>
      </dgm:t>
    </dgm:pt>
    <dgm:pt modelId="{F6FC6F61-669D-4B7F-8F6B-3ECFE69AE86F}" type="pres">
      <dgm:prSet presAssocID="{6378EA48-B9E6-4EE9-A136-7586B3406A8C}" presName="CompostProcess" presStyleCnt="0">
        <dgm:presLayoutVars>
          <dgm:dir/>
          <dgm:resizeHandles val="exact"/>
        </dgm:presLayoutVars>
      </dgm:prSet>
      <dgm:spPr/>
    </dgm:pt>
    <dgm:pt modelId="{8965693A-04F5-4C8F-8B46-379746833C42}" type="pres">
      <dgm:prSet presAssocID="{6378EA48-B9E6-4EE9-A136-7586B3406A8C}" presName="arrow" presStyleLbl="bgShp" presStyleIdx="0" presStyleCnt="1"/>
      <dgm:spPr/>
    </dgm:pt>
    <dgm:pt modelId="{FDA21CA8-BEBB-4FB0-B7CB-BE09B0C73AD5}" type="pres">
      <dgm:prSet presAssocID="{6378EA48-B9E6-4EE9-A136-7586B3406A8C}" presName="linearProcess" presStyleCnt="0"/>
      <dgm:spPr/>
    </dgm:pt>
    <dgm:pt modelId="{1CC58448-060D-431A-9323-7801F3F07C70}" type="pres">
      <dgm:prSet presAssocID="{73E7C8C3-C57C-4841-A842-90F986E0491B}" presName="textNode" presStyleLbl="node1" presStyleIdx="0" presStyleCnt="3">
        <dgm:presLayoutVars>
          <dgm:bulletEnabled val="1"/>
        </dgm:presLayoutVars>
      </dgm:prSet>
      <dgm:spPr/>
    </dgm:pt>
    <dgm:pt modelId="{18154E4E-BC48-4459-B121-B1F0680C0A52}" type="pres">
      <dgm:prSet presAssocID="{35BBD532-B3A3-4023-9A26-C4237D32DD0F}" presName="sibTrans" presStyleCnt="0"/>
      <dgm:spPr/>
    </dgm:pt>
    <dgm:pt modelId="{1B442994-0E15-4A52-B43C-CFB59787DBF0}" type="pres">
      <dgm:prSet presAssocID="{B7398013-385F-4A9F-9FD2-A8A184429515}" presName="textNode" presStyleLbl="node1" presStyleIdx="1" presStyleCnt="3">
        <dgm:presLayoutVars>
          <dgm:bulletEnabled val="1"/>
        </dgm:presLayoutVars>
      </dgm:prSet>
      <dgm:spPr/>
    </dgm:pt>
    <dgm:pt modelId="{B9EB0C45-33C5-4C7E-A052-687B9AA346CA}" type="pres">
      <dgm:prSet presAssocID="{64B85483-562B-4E04-B499-2B9E07C4DA8B}" presName="sibTrans" presStyleCnt="0"/>
      <dgm:spPr/>
    </dgm:pt>
    <dgm:pt modelId="{519C6324-A2F1-4291-8DF3-F1C903E9BBB6}" type="pres">
      <dgm:prSet presAssocID="{A915D8F1-C6F8-403E-97BD-10CBD02BD2C2}" presName="textNode" presStyleLbl="node1" presStyleIdx="2" presStyleCnt="3">
        <dgm:presLayoutVars>
          <dgm:bulletEnabled val="1"/>
        </dgm:presLayoutVars>
      </dgm:prSet>
      <dgm:spPr/>
    </dgm:pt>
  </dgm:ptLst>
  <dgm:cxnLst>
    <dgm:cxn modelId="{FA9B612D-54D5-4359-A76F-1A43094B5C63}" type="presOf" srcId="{B7398013-385F-4A9F-9FD2-A8A184429515}" destId="{1B442994-0E15-4A52-B43C-CFB59787DBF0}" srcOrd="0" destOrd="0" presId="urn:microsoft.com/office/officeart/2005/8/layout/hProcess9"/>
    <dgm:cxn modelId="{28D2EB62-C715-4583-9B78-5ADB5ACDA98D}" srcId="{6378EA48-B9E6-4EE9-A136-7586B3406A8C}" destId="{B7398013-385F-4A9F-9FD2-A8A184429515}" srcOrd="1" destOrd="0" parTransId="{E418AFA6-E301-4D7F-B079-9254E0B3EC70}" sibTransId="{64B85483-562B-4E04-B499-2B9E07C4DA8B}"/>
    <dgm:cxn modelId="{F396CA72-47CC-482D-BA69-8530A6D2D038}" type="presOf" srcId="{6378EA48-B9E6-4EE9-A136-7586B3406A8C}" destId="{F6FC6F61-669D-4B7F-8F6B-3ECFE69AE86F}" srcOrd="0" destOrd="0" presId="urn:microsoft.com/office/officeart/2005/8/layout/hProcess9"/>
    <dgm:cxn modelId="{2906359C-8CD1-4282-9585-C4B3A45707AC}" type="presOf" srcId="{73E7C8C3-C57C-4841-A842-90F986E0491B}" destId="{1CC58448-060D-431A-9323-7801F3F07C70}" srcOrd="0" destOrd="0" presId="urn:microsoft.com/office/officeart/2005/8/layout/hProcess9"/>
    <dgm:cxn modelId="{E28182B1-9438-440B-911D-9585856AF9F7}" srcId="{6378EA48-B9E6-4EE9-A136-7586B3406A8C}" destId="{73E7C8C3-C57C-4841-A842-90F986E0491B}" srcOrd="0" destOrd="0" parTransId="{823253BF-2212-4647-BA40-2E72AA351FD1}" sibTransId="{35BBD532-B3A3-4023-9A26-C4237D32DD0F}"/>
    <dgm:cxn modelId="{0B6A78D4-4352-4DB7-BF39-57DA2394E834}" type="presOf" srcId="{A915D8F1-C6F8-403E-97BD-10CBD02BD2C2}" destId="{519C6324-A2F1-4291-8DF3-F1C903E9BBB6}" srcOrd="0" destOrd="0" presId="urn:microsoft.com/office/officeart/2005/8/layout/hProcess9"/>
    <dgm:cxn modelId="{3EA9BBD9-5A56-4F12-9691-0A93D61BBFC7}" srcId="{6378EA48-B9E6-4EE9-A136-7586B3406A8C}" destId="{A915D8F1-C6F8-403E-97BD-10CBD02BD2C2}" srcOrd="2" destOrd="0" parTransId="{32CF7ABE-F1E7-4640-AC2C-0B58E085ABC6}" sibTransId="{553EE187-3E22-440A-94CB-BF2214B5BDB9}"/>
    <dgm:cxn modelId="{D5E010EF-5CEC-4DC5-BDF7-712548466A0B}" type="presParOf" srcId="{F6FC6F61-669D-4B7F-8F6B-3ECFE69AE86F}" destId="{8965693A-04F5-4C8F-8B46-379746833C42}" srcOrd="0" destOrd="0" presId="urn:microsoft.com/office/officeart/2005/8/layout/hProcess9"/>
    <dgm:cxn modelId="{F047DAA2-2BD5-49ED-A633-DD162C99CAB1}" type="presParOf" srcId="{F6FC6F61-669D-4B7F-8F6B-3ECFE69AE86F}" destId="{FDA21CA8-BEBB-4FB0-B7CB-BE09B0C73AD5}" srcOrd="1" destOrd="0" presId="urn:microsoft.com/office/officeart/2005/8/layout/hProcess9"/>
    <dgm:cxn modelId="{9386777D-F2DF-43AB-B248-2233F3504B07}" type="presParOf" srcId="{FDA21CA8-BEBB-4FB0-B7CB-BE09B0C73AD5}" destId="{1CC58448-060D-431A-9323-7801F3F07C70}" srcOrd="0" destOrd="0" presId="urn:microsoft.com/office/officeart/2005/8/layout/hProcess9"/>
    <dgm:cxn modelId="{C9AAD8B7-44A9-449E-B664-23B6573DF0AF}" type="presParOf" srcId="{FDA21CA8-BEBB-4FB0-B7CB-BE09B0C73AD5}" destId="{18154E4E-BC48-4459-B121-B1F0680C0A52}" srcOrd="1" destOrd="0" presId="urn:microsoft.com/office/officeart/2005/8/layout/hProcess9"/>
    <dgm:cxn modelId="{BBC280A3-0EE1-4872-B27E-4FA27EBEF686}" type="presParOf" srcId="{FDA21CA8-BEBB-4FB0-B7CB-BE09B0C73AD5}" destId="{1B442994-0E15-4A52-B43C-CFB59787DBF0}" srcOrd="2" destOrd="0" presId="urn:microsoft.com/office/officeart/2005/8/layout/hProcess9"/>
    <dgm:cxn modelId="{A447B481-4D41-4051-8A45-D4AF75B1BF15}" type="presParOf" srcId="{FDA21CA8-BEBB-4FB0-B7CB-BE09B0C73AD5}" destId="{B9EB0C45-33C5-4C7E-A052-687B9AA346CA}" srcOrd="3" destOrd="0" presId="urn:microsoft.com/office/officeart/2005/8/layout/hProcess9"/>
    <dgm:cxn modelId="{F1A44D8E-75E7-4B84-9F8E-EBC053BDC6DC}" type="presParOf" srcId="{FDA21CA8-BEBB-4FB0-B7CB-BE09B0C73AD5}" destId="{519C6324-A2F1-4291-8DF3-F1C903E9BBB6}"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48EA8B6-22C9-4B64-89A1-C2DE453CE36C}"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C149B4AE-D0C4-4C29-B2F3-B83D89C0D80B}">
      <dgm:prSet/>
      <dgm:spPr/>
      <dgm:t>
        <a:bodyPr/>
        <a:lstStyle/>
        <a:p>
          <a:r>
            <a:rPr lang="en-US"/>
            <a:t>Stored procedures</a:t>
          </a:r>
        </a:p>
      </dgm:t>
    </dgm:pt>
    <dgm:pt modelId="{055D4A6B-084D-42E5-9859-56F5E35C8F65}" type="parTrans" cxnId="{B7711C66-E43F-451B-85EF-C88A8589EF94}">
      <dgm:prSet/>
      <dgm:spPr/>
      <dgm:t>
        <a:bodyPr/>
        <a:lstStyle/>
        <a:p>
          <a:endParaRPr lang="en-US"/>
        </a:p>
      </dgm:t>
    </dgm:pt>
    <dgm:pt modelId="{59E9DC15-E479-4B29-8C9C-68F303166270}" type="sibTrans" cxnId="{B7711C66-E43F-451B-85EF-C88A8589EF94}">
      <dgm:prSet/>
      <dgm:spPr/>
      <dgm:t>
        <a:bodyPr/>
        <a:lstStyle/>
        <a:p>
          <a:endParaRPr lang="en-US"/>
        </a:p>
      </dgm:t>
    </dgm:pt>
    <dgm:pt modelId="{0294FA66-C307-4601-9F0B-024C6CCA186A}">
      <dgm:prSet/>
      <dgm:spPr/>
      <dgm:t>
        <a:bodyPr/>
        <a:lstStyle/>
        <a:p>
          <a:r>
            <a:rPr lang="en-US"/>
            <a:t>Queries submitted via </a:t>
          </a:r>
          <a:r>
            <a:rPr lang="en-US">
              <a:solidFill>
                <a:schemeClr val="bg1"/>
              </a:solidFill>
            </a:rPr>
            <a:t>sp_executesql</a:t>
          </a:r>
        </a:p>
      </dgm:t>
    </dgm:pt>
    <dgm:pt modelId="{13AD0849-AD92-401F-A9C8-B3EFE074B03A}" type="parTrans" cxnId="{FFA6A4C9-9191-493D-ADDB-D17F96BEA4A4}">
      <dgm:prSet/>
      <dgm:spPr/>
      <dgm:t>
        <a:bodyPr/>
        <a:lstStyle/>
        <a:p>
          <a:endParaRPr lang="en-US"/>
        </a:p>
      </dgm:t>
    </dgm:pt>
    <dgm:pt modelId="{CFB9A2BB-0A81-4514-9008-2781EB41AEC8}" type="sibTrans" cxnId="{FFA6A4C9-9191-493D-ADDB-D17F96BEA4A4}">
      <dgm:prSet/>
      <dgm:spPr/>
      <dgm:t>
        <a:bodyPr/>
        <a:lstStyle/>
        <a:p>
          <a:endParaRPr lang="en-US"/>
        </a:p>
      </dgm:t>
    </dgm:pt>
    <dgm:pt modelId="{AE9520E1-7E05-4278-8A86-E6C713211F4C}">
      <dgm:prSet/>
      <dgm:spPr/>
      <dgm:t>
        <a:bodyPr/>
        <a:lstStyle/>
        <a:p>
          <a:r>
            <a:rPr lang="en-US"/>
            <a:t>Prepared queries</a:t>
          </a:r>
        </a:p>
      </dgm:t>
    </dgm:pt>
    <dgm:pt modelId="{527291F2-53AB-4049-B791-233444FF8A7B}" type="parTrans" cxnId="{07E0BD69-A036-48FE-9C60-BDD49D733E13}">
      <dgm:prSet/>
      <dgm:spPr/>
      <dgm:t>
        <a:bodyPr/>
        <a:lstStyle/>
        <a:p>
          <a:endParaRPr lang="en-US"/>
        </a:p>
      </dgm:t>
    </dgm:pt>
    <dgm:pt modelId="{45BC812A-511B-4E02-951B-858BD146222F}" type="sibTrans" cxnId="{07E0BD69-A036-48FE-9C60-BDD49D733E13}">
      <dgm:prSet/>
      <dgm:spPr/>
      <dgm:t>
        <a:bodyPr/>
        <a:lstStyle/>
        <a:p>
          <a:endParaRPr lang="en-US"/>
        </a:p>
      </dgm:t>
    </dgm:pt>
    <dgm:pt modelId="{11E83CE6-A704-4120-A6E8-E9519C3BD90E}">
      <dgm:prSet/>
      <dgm:spPr/>
      <dgm:t>
        <a:bodyPr/>
        <a:lstStyle/>
        <a:p>
          <a:r>
            <a:rPr lang="en-US" baseline="0"/>
            <a:t>Parameter sniffing can be seen on the following types of batches:</a:t>
          </a:r>
          <a:endParaRPr lang="en-US"/>
        </a:p>
      </dgm:t>
    </dgm:pt>
    <dgm:pt modelId="{E5F20F92-86EE-4D71-A966-00C42E27339C}" type="parTrans" cxnId="{881E4B08-E371-48AE-9D90-FCBBC5F45E0F}">
      <dgm:prSet/>
      <dgm:spPr/>
      <dgm:t>
        <a:bodyPr/>
        <a:lstStyle/>
        <a:p>
          <a:endParaRPr lang="en-US"/>
        </a:p>
      </dgm:t>
    </dgm:pt>
    <dgm:pt modelId="{0C4E0EE0-AA89-41FC-B5A6-86CE7DB5E705}" type="sibTrans" cxnId="{881E4B08-E371-48AE-9D90-FCBBC5F45E0F}">
      <dgm:prSet/>
      <dgm:spPr/>
      <dgm:t>
        <a:bodyPr/>
        <a:lstStyle/>
        <a:p>
          <a:endParaRPr lang="en-US"/>
        </a:p>
      </dgm:t>
    </dgm:pt>
    <dgm:pt modelId="{BC4E50E8-CAB4-429B-A9D9-ECCB81EE6E2A}" type="pres">
      <dgm:prSet presAssocID="{F48EA8B6-22C9-4B64-89A1-C2DE453CE36C}" presName="Name0" presStyleCnt="0">
        <dgm:presLayoutVars>
          <dgm:dir/>
          <dgm:animLvl val="lvl"/>
          <dgm:resizeHandles val="exact"/>
        </dgm:presLayoutVars>
      </dgm:prSet>
      <dgm:spPr/>
    </dgm:pt>
    <dgm:pt modelId="{F05368DD-2724-46DA-A501-7B467F523F93}" type="pres">
      <dgm:prSet presAssocID="{11E83CE6-A704-4120-A6E8-E9519C3BD90E}" presName="linNode" presStyleCnt="0"/>
      <dgm:spPr/>
    </dgm:pt>
    <dgm:pt modelId="{47A4A0A1-C166-4C7D-B49D-5822147D43EE}" type="pres">
      <dgm:prSet presAssocID="{11E83CE6-A704-4120-A6E8-E9519C3BD90E}" presName="parTx" presStyleLbl="revTx" presStyleIdx="0" presStyleCnt="1">
        <dgm:presLayoutVars>
          <dgm:chMax val="1"/>
          <dgm:bulletEnabled val="1"/>
        </dgm:presLayoutVars>
      </dgm:prSet>
      <dgm:spPr/>
    </dgm:pt>
    <dgm:pt modelId="{60E69ADB-0BDB-4256-AA0B-31CD1D991BED}" type="pres">
      <dgm:prSet presAssocID="{11E83CE6-A704-4120-A6E8-E9519C3BD90E}" presName="bracket" presStyleLbl="parChTrans1D1" presStyleIdx="0" presStyleCnt="1"/>
      <dgm:spPr/>
    </dgm:pt>
    <dgm:pt modelId="{CBFDCD36-2956-4B20-8498-A15EDD9396AF}" type="pres">
      <dgm:prSet presAssocID="{11E83CE6-A704-4120-A6E8-E9519C3BD90E}" presName="spH" presStyleCnt="0"/>
      <dgm:spPr/>
    </dgm:pt>
    <dgm:pt modelId="{D281D50E-37FC-4887-B603-EE43F59C020D}" type="pres">
      <dgm:prSet presAssocID="{11E83CE6-A704-4120-A6E8-E9519C3BD90E}" presName="desTx" presStyleLbl="node1" presStyleIdx="0" presStyleCnt="1" custScaleX="50645">
        <dgm:presLayoutVars>
          <dgm:bulletEnabled val="1"/>
        </dgm:presLayoutVars>
      </dgm:prSet>
      <dgm:spPr/>
    </dgm:pt>
  </dgm:ptLst>
  <dgm:cxnLst>
    <dgm:cxn modelId="{881E4B08-E371-48AE-9D90-FCBBC5F45E0F}" srcId="{F48EA8B6-22C9-4B64-89A1-C2DE453CE36C}" destId="{11E83CE6-A704-4120-A6E8-E9519C3BD90E}" srcOrd="0" destOrd="0" parTransId="{E5F20F92-86EE-4D71-A966-00C42E27339C}" sibTransId="{0C4E0EE0-AA89-41FC-B5A6-86CE7DB5E705}"/>
    <dgm:cxn modelId="{B7711C66-E43F-451B-85EF-C88A8589EF94}" srcId="{11E83CE6-A704-4120-A6E8-E9519C3BD90E}" destId="{C149B4AE-D0C4-4C29-B2F3-B83D89C0D80B}" srcOrd="0" destOrd="0" parTransId="{055D4A6B-084D-42E5-9859-56F5E35C8F65}" sibTransId="{59E9DC15-E479-4B29-8C9C-68F303166270}"/>
    <dgm:cxn modelId="{07E0BD69-A036-48FE-9C60-BDD49D733E13}" srcId="{11E83CE6-A704-4120-A6E8-E9519C3BD90E}" destId="{AE9520E1-7E05-4278-8A86-E6C713211F4C}" srcOrd="2" destOrd="0" parTransId="{527291F2-53AB-4049-B791-233444FF8A7B}" sibTransId="{45BC812A-511B-4E02-951B-858BD146222F}"/>
    <dgm:cxn modelId="{EDBC6E8A-592C-421E-B490-CDB2081BC50C}" type="presOf" srcId="{AE9520E1-7E05-4278-8A86-E6C713211F4C}" destId="{D281D50E-37FC-4887-B603-EE43F59C020D}" srcOrd="0" destOrd="2" presId="urn:diagrams.loki3.com/BracketList"/>
    <dgm:cxn modelId="{9F3D7AA8-240F-4EF0-A8F8-99629D401074}" type="presOf" srcId="{F48EA8B6-22C9-4B64-89A1-C2DE453CE36C}" destId="{BC4E50E8-CAB4-429B-A9D9-ECCB81EE6E2A}" srcOrd="0" destOrd="0" presId="urn:diagrams.loki3.com/BracketList"/>
    <dgm:cxn modelId="{FFA6A4C9-9191-493D-ADDB-D17F96BEA4A4}" srcId="{11E83CE6-A704-4120-A6E8-E9519C3BD90E}" destId="{0294FA66-C307-4601-9F0B-024C6CCA186A}" srcOrd="1" destOrd="0" parTransId="{13AD0849-AD92-401F-A9C8-B3EFE074B03A}" sibTransId="{CFB9A2BB-0A81-4514-9008-2781EB41AEC8}"/>
    <dgm:cxn modelId="{189C91CF-0F7C-4D9E-B1F8-6E91F69F98EC}" type="presOf" srcId="{0294FA66-C307-4601-9F0B-024C6CCA186A}" destId="{D281D50E-37FC-4887-B603-EE43F59C020D}" srcOrd="0" destOrd="1" presId="urn:diagrams.loki3.com/BracketList"/>
    <dgm:cxn modelId="{072981D9-A8DE-4654-820F-FF4F83E40751}" type="presOf" srcId="{C149B4AE-D0C4-4C29-B2F3-B83D89C0D80B}" destId="{D281D50E-37FC-4887-B603-EE43F59C020D}" srcOrd="0" destOrd="0" presId="urn:diagrams.loki3.com/BracketList"/>
    <dgm:cxn modelId="{418EE8E2-86FE-4E45-B91F-C6F3DCA49990}" type="presOf" srcId="{11E83CE6-A704-4120-A6E8-E9519C3BD90E}" destId="{47A4A0A1-C166-4C7D-B49D-5822147D43EE}" srcOrd="0" destOrd="0" presId="urn:diagrams.loki3.com/BracketList"/>
    <dgm:cxn modelId="{6F1634D6-BA52-4FFF-AF0D-A324F808A9D4}" type="presParOf" srcId="{BC4E50E8-CAB4-429B-A9D9-ECCB81EE6E2A}" destId="{F05368DD-2724-46DA-A501-7B467F523F93}" srcOrd="0" destOrd="0" presId="urn:diagrams.loki3.com/BracketList"/>
    <dgm:cxn modelId="{919953DF-3FEE-4B75-A811-BD9F658D3A2B}" type="presParOf" srcId="{F05368DD-2724-46DA-A501-7B467F523F93}" destId="{47A4A0A1-C166-4C7D-B49D-5822147D43EE}" srcOrd="0" destOrd="0" presId="urn:diagrams.loki3.com/BracketList"/>
    <dgm:cxn modelId="{30CC2179-AE4C-4C44-B3EB-B664E4B6C162}" type="presParOf" srcId="{F05368DD-2724-46DA-A501-7B467F523F93}" destId="{60E69ADB-0BDB-4256-AA0B-31CD1D991BED}" srcOrd="1" destOrd="0" presId="urn:diagrams.loki3.com/BracketList"/>
    <dgm:cxn modelId="{88DD286B-E8CF-44D4-BC38-8C6CEA86B259}" type="presParOf" srcId="{F05368DD-2724-46DA-A501-7B467F523F93}" destId="{CBFDCD36-2956-4B20-8498-A15EDD9396AF}" srcOrd="2" destOrd="0" presId="urn:diagrams.loki3.com/BracketList"/>
    <dgm:cxn modelId="{A5BD7AAC-4916-4B09-ACBE-AB42DD45BA12}" type="presParOf" srcId="{F05368DD-2724-46DA-A501-7B467F523F93}" destId="{D281D50E-37FC-4887-B603-EE43F59C020D}" srcOrd="3" destOrd="0" presId="urn:diagrams.loki3.com/Bracke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990606" y="2878"/>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A SARGable item in a search predicate is able to use an index.</a:t>
          </a:r>
          <a:endParaRPr lang="en-US" sz="3000" kern="1200"/>
        </a:p>
      </dsp:txBody>
      <dsp:txXfrm>
        <a:off x="990606" y="2878"/>
        <a:ext cx="4373549" cy="2107497"/>
      </dsp:txXfrm>
    </dsp:sp>
    <dsp:sp modelId="{1D82B2A2-337A-42B0-996F-DE3C71434FA6}">
      <dsp:nvSpPr>
        <dsp:cNvPr id="0" name=""/>
        <dsp:cNvSpPr/>
      </dsp:nvSpPr>
      <dsp:spPr>
        <a:xfrm>
          <a:off x="990606" y="2461625"/>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Non-SARGable expressions can significantly slow down queries.</a:t>
          </a:r>
          <a:endParaRPr lang="en-US" sz="3000" kern="1200"/>
        </a:p>
      </dsp:txBody>
      <dsp:txXfrm>
        <a:off x="990606" y="2461625"/>
        <a:ext cx="4373549" cy="210749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430D2-CDBD-46C7-A0B9-F95B959FCE9E}">
      <dsp:nvSpPr>
        <dsp:cNvPr id="0" name=""/>
        <dsp:cNvSpPr/>
      </dsp:nvSpPr>
      <dsp:spPr>
        <a:xfrm>
          <a:off x="0" y="199677"/>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RECOMPILE</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This workaround trades compilation time and increased CPU for better plan quality.</a:t>
          </a:r>
          <a:endParaRPr lang="en-US" sz="1400" kern="1200"/>
        </a:p>
      </dsp:txBody>
      <dsp:txXfrm>
        <a:off x="0" y="199677"/>
        <a:ext cx="3400226" cy="2040135"/>
      </dsp:txXfrm>
    </dsp:sp>
    <dsp:sp modelId="{DB63BBB8-C9A2-4503-A7CE-46100CCFE5CB}">
      <dsp:nvSpPr>
        <dsp:cNvPr id="0" name=""/>
        <dsp:cNvSpPr/>
      </dsp:nvSpPr>
      <dsp:spPr>
        <a:xfrm>
          <a:off x="3740248" y="199677"/>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OPTION (OPTIMIZE FOR…)</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This option requires a good understanding of optimal parameter values and associated plan characteristics.</a:t>
          </a:r>
          <a:endParaRPr lang="en-US" sz="1400" kern="1200"/>
        </a:p>
      </dsp:txBody>
      <dsp:txXfrm>
        <a:off x="3740248" y="199677"/>
        <a:ext cx="3400226" cy="2040135"/>
      </dsp:txXfrm>
    </dsp:sp>
    <dsp:sp modelId="{6BD46FA9-C268-4BC9-9539-9E786CE3EC8B}">
      <dsp:nvSpPr>
        <dsp:cNvPr id="0" name=""/>
        <dsp:cNvSpPr/>
      </dsp:nvSpPr>
      <dsp:spPr>
        <a:xfrm>
          <a:off x="7480497" y="199677"/>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OPTION (OPTIMIZE FOR UNKNOWN)</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Overrides the actual parameter value and instead use the density vector.</a:t>
          </a:r>
          <a:endParaRPr lang="en-US" sz="1400" kern="1200"/>
        </a:p>
      </dsp:txBody>
      <dsp:txXfrm>
        <a:off x="7480497" y="199677"/>
        <a:ext cx="3400226" cy="2040135"/>
      </dsp:txXfrm>
    </dsp:sp>
    <dsp:sp modelId="{9D098910-64E3-4B00-9AE0-6F8E6BDB5C45}">
      <dsp:nvSpPr>
        <dsp:cNvPr id="0" name=""/>
        <dsp:cNvSpPr/>
      </dsp:nvSpPr>
      <dsp:spPr>
        <a:xfrm>
          <a:off x="0" y="2579836"/>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DISABLE_PARAMETER_SNIFFING</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Disables parameter sniffing entirely. </a:t>
          </a:r>
          <a:br>
            <a:rPr lang="en-US" sz="1400" kern="1200" baseline="0"/>
          </a:br>
          <a:r>
            <a:rPr lang="en-US" sz="1400" kern="1200" baseline="0"/>
            <a:t>This hint name is equivalent to:</a:t>
          </a:r>
          <a:br>
            <a:rPr lang="en-US" sz="1400" kern="1200" baseline="0"/>
          </a:br>
          <a:r>
            <a:rPr lang="en-US" sz="1400" kern="1200" baseline="0"/>
            <a:t>- TRACE FLAG 4136</a:t>
          </a:r>
          <a:endParaRPr lang="en-US" sz="1400" kern="1200"/>
        </a:p>
        <a:p>
          <a:pPr marL="228600" lvl="2" indent="-114300" algn="l" defTabSz="622300">
            <a:lnSpc>
              <a:spcPct val="90000"/>
            </a:lnSpc>
            <a:spcBef>
              <a:spcPct val="0"/>
            </a:spcBef>
            <a:spcAft>
              <a:spcPct val="15000"/>
            </a:spcAft>
            <a:buNone/>
          </a:pPr>
          <a:r>
            <a:rPr lang="en-US" sz="1400" kern="1200" baseline="0"/>
            <a:t>- Database Scoped Configuration setting PARAMETER_SNIFFING = OFF </a:t>
          </a:r>
          <a:endParaRPr lang="en-US" sz="1400" kern="1200"/>
        </a:p>
      </dsp:txBody>
      <dsp:txXfrm>
        <a:off x="0" y="2579836"/>
        <a:ext cx="3400226" cy="2040135"/>
      </dsp:txXfrm>
    </dsp:sp>
    <dsp:sp modelId="{C78F25B9-46F2-46A6-AAE0-7251971BCB09}">
      <dsp:nvSpPr>
        <dsp:cNvPr id="0" name=""/>
        <dsp:cNvSpPr/>
      </dsp:nvSpPr>
      <dsp:spPr>
        <a:xfrm>
          <a:off x="3740248" y="2579836"/>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KEEPFIXEDPLAN</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This workaround assumes that the good-enough common plan is the one in cache already.</a:t>
          </a:r>
          <a:endParaRPr lang="en-US" sz="1400" kern="1200"/>
        </a:p>
      </dsp:txBody>
      <dsp:txXfrm>
        <a:off x="3740248" y="2579836"/>
        <a:ext cx="3400226" cy="2040135"/>
      </dsp:txXfrm>
    </dsp:sp>
    <dsp:sp modelId="{E827845D-8663-4C61-8FD9-062472D36DDB}">
      <dsp:nvSpPr>
        <dsp:cNvPr id="0" name=""/>
        <dsp:cNvSpPr/>
      </dsp:nvSpPr>
      <dsp:spPr>
        <a:xfrm>
          <a:off x="7480497" y="2579836"/>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USE PLAN</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Force the plan by explicitly using this query hint by rewriting the query and adding the hint in the query text. Or set a specific plan by using Query Store.</a:t>
          </a:r>
          <a:endParaRPr lang="en-US" sz="1400" kern="1200"/>
        </a:p>
      </dsp:txBody>
      <dsp:txXfrm>
        <a:off x="7480497" y="2579836"/>
        <a:ext cx="3400226" cy="204013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099424"/>
          <a:ext cx="10880725"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a:t>Give two examples of non-SARGable expressions.</a:t>
          </a:r>
          <a:endParaRPr lang="en-US" sz="2400" kern="1200"/>
        </a:p>
      </dsp:txBody>
      <dsp:txXfrm>
        <a:off x="59399" y="1158823"/>
        <a:ext cx="10761927" cy="1098002"/>
      </dsp:txXfrm>
    </dsp:sp>
    <dsp:sp modelId="{4A71D5C7-A7D6-46CE-B888-CF65241F6B98}">
      <dsp:nvSpPr>
        <dsp:cNvPr id="0" name=""/>
        <dsp:cNvSpPr/>
      </dsp:nvSpPr>
      <dsp:spPr>
        <a:xfrm>
          <a:off x="0" y="2493544"/>
          <a:ext cx="10880725"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Explain three hints we can use to mitigate Parameter Sniffing.</a:t>
          </a:r>
        </a:p>
      </dsp:txBody>
      <dsp:txXfrm>
        <a:off x="59399" y="2552943"/>
        <a:ext cx="10761927" cy="1098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1D3D5-9E76-431B-936E-27ED74BE81DF}">
      <dsp:nvSpPr>
        <dsp:cNvPr id="0" name=""/>
        <dsp:cNvSpPr/>
      </dsp:nvSpPr>
      <dsp:spPr>
        <a:xfrm>
          <a:off x="0" y="87374"/>
          <a:ext cx="10880726"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Functions</a:t>
          </a:r>
          <a:endParaRPr lang="en-US" sz="2600" kern="1200"/>
        </a:p>
      </dsp:txBody>
      <dsp:txXfrm>
        <a:off x="32670" y="120044"/>
        <a:ext cx="10815386" cy="603900"/>
      </dsp:txXfrm>
    </dsp:sp>
    <dsp:sp modelId="{F7A5FA27-EE15-4B9D-A2D7-9E990BE5D34D}">
      <dsp:nvSpPr>
        <dsp:cNvPr id="0" name=""/>
        <dsp:cNvSpPr/>
      </dsp:nvSpPr>
      <dsp:spPr>
        <a:xfrm>
          <a:off x="0" y="756614"/>
          <a:ext cx="10880726" cy="1130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None/>
          </a:pPr>
          <a:r>
            <a:rPr lang="pt-PT" sz="2000" kern="1200" baseline="0"/>
            <a:t>WHERE ABS(ProductID) = 771</a:t>
          </a:r>
          <a:endParaRPr lang="en-US" sz="2000" kern="1200"/>
        </a:p>
        <a:p>
          <a:pPr marL="228600" lvl="1" indent="-228600" algn="l" defTabSz="889000">
            <a:lnSpc>
              <a:spcPct val="90000"/>
            </a:lnSpc>
            <a:spcBef>
              <a:spcPct val="0"/>
            </a:spcBef>
            <a:spcAft>
              <a:spcPct val="20000"/>
            </a:spcAft>
            <a:buNone/>
          </a:pPr>
          <a:r>
            <a:rPr lang="pt-PT" sz="2000" kern="1200" baseline="0"/>
            <a:t>WHERE UPPER(City) = “London”</a:t>
          </a:r>
          <a:endParaRPr lang="en-US" sz="2000" kern="1200"/>
        </a:p>
        <a:p>
          <a:pPr marL="228600" lvl="1" indent="-228600" algn="l" defTabSz="889000">
            <a:lnSpc>
              <a:spcPct val="90000"/>
            </a:lnSpc>
            <a:spcBef>
              <a:spcPct val="0"/>
            </a:spcBef>
            <a:spcAft>
              <a:spcPct val="20000"/>
            </a:spcAft>
            <a:buNone/>
          </a:pPr>
          <a:r>
            <a:rPr lang="pt-PT" sz="2000" kern="1200" baseline="0"/>
            <a:t>WHERE UPPER(surname) = “SMITHS”</a:t>
          </a:r>
          <a:endParaRPr lang="en-US" sz="2000" kern="1200"/>
        </a:p>
      </dsp:txBody>
      <dsp:txXfrm>
        <a:off x="0" y="756614"/>
        <a:ext cx="10880726" cy="1130220"/>
      </dsp:txXfrm>
    </dsp:sp>
    <dsp:sp modelId="{956BBA51-9DA8-4303-A3B1-EA57BE42EACE}">
      <dsp:nvSpPr>
        <dsp:cNvPr id="0" name=""/>
        <dsp:cNvSpPr/>
      </dsp:nvSpPr>
      <dsp:spPr>
        <a:xfrm>
          <a:off x="0" y="1886834"/>
          <a:ext cx="10880726"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alculations / Expressions</a:t>
          </a:r>
          <a:endParaRPr lang="en-US" sz="2600" kern="1200"/>
        </a:p>
      </dsp:txBody>
      <dsp:txXfrm>
        <a:off x="32670" y="1919504"/>
        <a:ext cx="10815386" cy="603900"/>
      </dsp:txXfrm>
    </dsp:sp>
    <dsp:sp modelId="{6551B31D-494C-4F3A-841C-6AC70EDCB3CF}">
      <dsp:nvSpPr>
        <dsp:cNvPr id="0" name=""/>
        <dsp:cNvSpPr/>
      </dsp:nvSpPr>
      <dsp:spPr>
        <a:xfrm>
          <a:off x="0" y="2556075"/>
          <a:ext cx="10880726" cy="753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None/>
          </a:pPr>
          <a:r>
            <a:rPr lang="pt-PT" sz="2000" kern="1200" baseline="0"/>
            <a:t>WHERE Sales.Price + Sales.Tax &gt; 100 </a:t>
          </a:r>
          <a:endParaRPr lang="en-US" sz="2000" kern="1200"/>
        </a:p>
        <a:p>
          <a:pPr marL="228600" lvl="1" indent="-228600" algn="l" defTabSz="889000">
            <a:lnSpc>
              <a:spcPct val="90000"/>
            </a:lnSpc>
            <a:spcBef>
              <a:spcPct val="0"/>
            </a:spcBef>
            <a:spcAft>
              <a:spcPct val="20000"/>
            </a:spcAft>
            <a:buNone/>
          </a:pPr>
          <a:r>
            <a:rPr lang="pt-PT" sz="2000" kern="1200" baseline="0"/>
            <a:t>WHERE </a:t>
          </a:r>
          <a:r>
            <a:rPr lang="en-US" sz="2000" kern="1200" baseline="0"/>
            <a:t>Sales.Price * (1 + Sales.TaxRate) &gt; 100</a:t>
          </a:r>
          <a:endParaRPr lang="en-US" sz="2000" kern="1200"/>
        </a:p>
      </dsp:txBody>
      <dsp:txXfrm>
        <a:off x="0" y="2556075"/>
        <a:ext cx="10880726" cy="753480"/>
      </dsp:txXfrm>
    </dsp:sp>
    <dsp:sp modelId="{DD34124C-D6F2-480B-9773-482ABC4EE9DD}">
      <dsp:nvSpPr>
        <dsp:cNvPr id="0" name=""/>
        <dsp:cNvSpPr/>
      </dsp:nvSpPr>
      <dsp:spPr>
        <a:xfrm>
          <a:off x="0" y="3309554"/>
          <a:ext cx="10880726"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Using leading wildcard with LIKE operator</a:t>
          </a:r>
          <a:endParaRPr lang="en-US" sz="2600" kern="1200"/>
        </a:p>
      </dsp:txBody>
      <dsp:txXfrm>
        <a:off x="32670" y="3342224"/>
        <a:ext cx="10815386" cy="603900"/>
      </dsp:txXfrm>
    </dsp:sp>
    <dsp:sp modelId="{ADB56FBA-AB70-47DA-8A7F-C3C760D02163}">
      <dsp:nvSpPr>
        <dsp:cNvPr id="0" name=""/>
        <dsp:cNvSpPr/>
      </dsp:nvSpPr>
      <dsp:spPr>
        <a:xfrm>
          <a:off x="0" y="3978795"/>
          <a:ext cx="10880726" cy="753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None/>
          </a:pPr>
          <a:r>
            <a:rPr lang="pt-PT" sz="2000" kern="1200" baseline="0"/>
            <a:t>WHERE </a:t>
          </a:r>
          <a:r>
            <a:rPr lang="en-US" sz="2000" kern="1200" baseline="0"/>
            <a:t>Employee.FirstName LIKE '%L%' is non-SARGable</a:t>
          </a:r>
          <a:endParaRPr lang="en-US" sz="2000" kern="1200"/>
        </a:p>
        <a:p>
          <a:pPr marL="228600" lvl="1" indent="-228600" algn="l" defTabSz="889000">
            <a:lnSpc>
              <a:spcPct val="90000"/>
            </a:lnSpc>
            <a:spcBef>
              <a:spcPct val="0"/>
            </a:spcBef>
            <a:spcAft>
              <a:spcPct val="20000"/>
            </a:spcAft>
            <a:buNone/>
          </a:pPr>
          <a:r>
            <a:rPr lang="pt-PT" sz="2000" kern="1200" baseline="0"/>
            <a:t>WHERE </a:t>
          </a:r>
          <a:r>
            <a:rPr lang="en-US" sz="2000" kern="1200" baseline="0"/>
            <a:t>Employee.FirstName LIKE ‘L%' is SARGable</a:t>
          </a:r>
          <a:endParaRPr lang="en-US" sz="2000" kern="1200"/>
        </a:p>
      </dsp:txBody>
      <dsp:txXfrm>
        <a:off x="0" y="3978795"/>
        <a:ext cx="10880726" cy="7534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83622E-48D3-4138-B28F-1252663A35E4}">
      <dsp:nvSpPr>
        <dsp:cNvPr id="0" name=""/>
        <dsp:cNvSpPr/>
      </dsp:nvSpPr>
      <dsp:spPr>
        <a:xfrm>
          <a:off x="0" y="41005"/>
          <a:ext cx="10880726" cy="643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AU" sz="2500" kern="1200" baseline="0"/>
            <a:t>Implicit Conversions</a:t>
          </a:r>
          <a:endParaRPr lang="en-US" sz="2500" kern="1200"/>
        </a:p>
      </dsp:txBody>
      <dsp:txXfrm>
        <a:off x="31412" y="72417"/>
        <a:ext cx="10817902" cy="5806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07723A-D4CE-4CF0-AA9C-4F95928A19A1}">
      <dsp:nvSpPr>
        <dsp:cNvPr id="0" name=""/>
        <dsp:cNvSpPr/>
      </dsp:nvSpPr>
      <dsp:spPr>
        <a:xfrm>
          <a:off x="991680" y="957"/>
          <a:ext cx="3795910" cy="151954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1066800">
            <a:lnSpc>
              <a:spcPct val="90000"/>
            </a:lnSpc>
            <a:spcBef>
              <a:spcPct val="0"/>
            </a:spcBef>
            <a:spcAft>
              <a:spcPct val="35000"/>
            </a:spcAft>
            <a:buNone/>
          </a:pPr>
          <a:r>
            <a:rPr lang="pt-PT" sz="2400" kern="1200"/>
            <a:t>SELECT * </a:t>
          </a:r>
        </a:p>
        <a:p>
          <a:pPr marL="0" lvl="0" indent="0" algn="l" defTabSz="1066800">
            <a:lnSpc>
              <a:spcPct val="90000"/>
            </a:lnSpc>
            <a:spcBef>
              <a:spcPct val="0"/>
            </a:spcBef>
            <a:spcAft>
              <a:spcPct val="35000"/>
            </a:spcAft>
            <a:buNone/>
          </a:pPr>
          <a:r>
            <a:rPr lang="pt-PT" sz="2400" kern="1200"/>
            <a:t>FROM [dbo].[Product] </a:t>
          </a:r>
        </a:p>
        <a:p>
          <a:pPr marL="0" lvl="0" indent="0" algn="l" defTabSz="1066800">
            <a:lnSpc>
              <a:spcPct val="90000"/>
            </a:lnSpc>
            <a:spcBef>
              <a:spcPct val="0"/>
            </a:spcBef>
            <a:spcAft>
              <a:spcPct val="35000"/>
            </a:spcAft>
            <a:buNone/>
          </a:pPr>
          <a:r>
            <a:rPr lang="pt-PT" sz="2400" kern="1200"/>
            <a:t>WHERE [ProductID] = 7</a:t>
          </a:r>
          <a:endParaRPr lang="en-US" sz="2400" kern="1200"/>
        </a:p>
      </dsp:txBody>
      <dsp:txXfrm>
        <a:off x="1036186" y="45463"/>
        <a:ext cx="3706898" cy="1430531"/>
      </dsp:txXfrm>
    </dsp:sp>
    <dsp:sp modelId="{7379EAF2-FE23-43F0-8356-15BA0D55797A}">
      <dsp:nvSpPr>
        <dsp:cNvPr id="0" name=""/>
        <dsp:cNvSpPr/>
      </dsp:nvSpPr>
      <dsp:spPr>
        <a:xfrm>
          <a:off x="991680" y="1748432"/>
          <a:ext cx="3838002" cy="151954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1066800">
            <a:lnSpc>
              <a:spcPct val="90000"/>
            </a:lnSpc>
            <a:spcBef>
              <a:spcPct val="0"/>
            </a:spcBef>
            <a:spcAft>
              <a:spcPct val="35000"/>
            </a:spcAft>
            <a:buNone/>
          </a:pPr>
          <a:r>
            <a:rPr lang="pt-PT" sz="2400" kern="1200"/>
            <a:t>SELECT * </a:t>
          </a:r>
        </a:p>
        <a:p>
          <a:pPr marL="0" lvl="0" indent="0" algn="l" defTabSz="1066800">
            <a:lnSpc>
              <a:spcPct val="90000"/>
            </a:lnSpc>
            <a:spcBef>
              <a:spcPct val="0"/>
            </a:spcBef>
            <a:spcAft>
              <a:spcPct val="35000"/>
            </a:spcAft>
            <a:buNone/>
          </a:pPr>
          <a:r>
            <a:rPr lang="pt-PT" sz="2400" kern="1200"/>
            <a:t>FROM [dbo].[Product]</a:t>
          </a:r>
        </a:p>
        <a:p>
          <a:pPr marL="0" lvl="0" indent="0" algn="l" defTabSz="1066800">
            <a:lnSpc>
              <a:spcPct val="90000"/>
            </a:lnSpc>
            <a:spcBef>
              <a:spcPct val="0"/>
            </a:spcBef>
            <a:spcAft>
              <a:spcPct val="35000"/>
            </a:spcAft>
            <a:buNone/>
          </a:pPr>
          <a:r>
            <a:rPr lang="pt-PT" sz="2400" kern="1200"/>
            <a:t>WHERE [ProductID] = N’7’</a:t>
          </a:r>
          <a:endParaRPr lang="en-US" sz="2400" kern="1200"/>
        </a:p>
      </dsp:txBody>
      <dsp:txXfrm>
        <a:off x="1036186" y="1792938"/>
        <a:ext cx="3748990" cy="14305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FD3A36-8793-4096-8DBB-0AF34157507A}">
      <dsp:nvSpPr>
        <dsp:cNvPr id="0" name=""/>
        <dsp:cNvSpPr/>
      </dsp:nvSpPr>
      <dsp:spPr>
        <a:xfrm>
          <a:off x="0" y="590137"/>
          <a:ext cx="10880726" cy="1535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AU" sz="2500" kern="1200" baseline="0"/>
            <a:t>Create computed column to Replace calculations / expressions.</a:t>
          </a:r>
          <a:endParaRPr lang="en-US" sz="2500" kern="1200"/>
        </a:p>
        <a:p>
          <a:pPr marL="228600" lvl="1" indent="-228600" algn="l" defTabSz="1111250">
            <a:lnSpc>
              <a:spcPct val="90000"/>
            </a:lnSpc>
            <a:spcBef>
              <a:spcPct val="0"/>
            </a:spcBef>
            <a:spcAft>
              <a:spcPct val="15000"/>
            </a:spcAft>
            <a:buChar char="•"/>
          </a:pPr>
          <a:r>
            <a:rPr lang="en-AU" sz="2500" kern="1200" baseline="0"/>
            <a:t>Create an index on computed column.</a:t>
          </a:r>
          <a:endParaRPr lang="en-US" sz="2500" kern="1200"/>
        </a:p>
      </dsp:txBody>
      <dsp:txXfrm>
        <a:off x="0" y="590137"/>
        <a:ext cx="10880726" cy="1535625"/>
      </dsp:txXfrm>
    </dsp:sp>
    <dsp:sp modelId="{247C05D9-D751-4533-84B7-81B4CD619193}">
      <dsp:nvSpPr>
        <dsp:cNvPr id="0" name=""/>
        <dsp:cNvSpPr/>
      </dsp:nvSpPr>
      <dsp:spPr>
        <a:xfrm>
          <a:off x="544036" y="221137"/>
          <a:ext cx="7616508"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AU" sz="2500" kern="1200" baseline="0"/>
            <a:t>Resolving non-SARGable expressions</a:t>
          </a:r>
          <a:endParaRPr lang="en-US" sz="2500" kern="1200"/>
        </a:p>
      </dsp:txBody>
      <dsp:txXfrm>
        <a:off x="580062" y="257163"/>
        <a:ext cx="7544456" cy="665948"/>
      </dsp:txXfrm>
    </dsp:sp>
    <dsp:sp modelId="{9C660BE5-9F76-4BDF-B385-DB2439091800}">
      <dsp:nvSpPr>
        <dsp:cNvPr id="0" name=""/>
        <dsp:cNvSpPr/>
      </dsp:nvSpPr>
      <dsp:spPr>
        <a:xfrm>
          <a:off x="0" y="2629762"/>
          <a:ext cx="10880726" cy="19687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AU" sz="2500" kern="1200" baseline="0"/>
            <a:t>SQL Server assumes 30% selectivity on inequality comparisons.</a:t>
          </a:r>
          <a:endParaRPr lang="en-US" sz="2500" kern="1200"/>
        </a:p>
        <a:p>
          <a:pPr marL="228600" lvl="1" indent="-228600" algn="l" defTabSz="1111250">
            <a:lnSpc>
              <a:spcPct val="90000"/>
            </a:lnSpc>
            <a:spcBef>
              <a:spcPct val="0"/>
            </a:spcBef>
            <a:spcAft>
              <a:spcPct val="15000"/>
            </a:spcAft>
            <a:buChar char="•"/>
          </a:pPr>
          <a:r>
            <a:rPr lang="en-AU" sz="2500" kern="1200" baseline="0"/>
            <a:t>Computed column will have more accurate statistics.</a:t>
          </a:r>
          <a:endParaRPr lang="en-US" sz="2500" kern="1200"/>
        </a:p>
        <a:p>
          <a:pPr marL="228600" lvl="1" indent="-228600" algn="l" defTabSz="1111250">
            <a:lnSpc>
              <a:spcPct val="90000"/>
            </a:lnSpc>
            <a:spcBef>
              <a:spcPct val="0"/>
            </a:spcBef>
            <a:spcAft>
              <a:spcPct val="15000"/>
            </a:spcAft>
            <a:buChar char="•"/>
          </a:pPr>
          <a:r>
            <a:rPr lang="en-AU" sz="2500" kern="1200" baseline="0"/>
            <a:t>No need to specify computed column.</a:t>
          </a:r>
          <a:endParaRPr lang="en-US" sz="2500" kern="1200"/>
        </a:p>
      </dsp:txBody>
      <dsp:txXfrm>
        <a:off x="0" y="2629762"/>
        <a:ext cx="10880726" cy="1968750"/>
      </dsp:txXfrm>
    </dsp:sp>
    <dsp:sp modelId="{D9076706-70C3-4E69-B60E-233EDF794CEB}">
      <dsp:nvSpPr>
        <dsp:cNvPr id="0" name=""/>
        <dsp:cNvSpPr/>
      </dsp:nvSpPr>
      <dsp:spPr>
        <a:xfrm>
          <a:off x="544036" y="2260762"/>
          <a:ext cx="7616508"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AU" sz="2500" kern="1200" baseline="0"/>
            <a:t>Selectivity issues for inequalities</a:t>
          </a:r>
          <a:endParaRPr lang="en-US" sz="2500" kern="1200"/>
        </a:p>
      </dsp:txBody>
      <dsp:txXfrm>
        <a:off x="580062" y="2296788"/>
        <a:ext cx="7544456" cy="6659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C3AB4F-D8F8-464D-8015-F811F4ED3AC9}">
      <dsp:nvSpPr>
        <dsp:cNvPr id="0" name=""/>
        <dsp:cNvSpPr/>
      </dsp:nvSpPr>
      <dsp:spPr>
        <a:xfrm>
          <a:off x="9908" y="407542"/>
          <a:ext cx="5316268" cy="174686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Specifies that the Database Engine will physically store the computed values in the table.</a:t>
          </a:r>
          <a:endParaRPr lang="en-US" sz="2500" kern="1200"/>
        </a:p>
      </dsp:txBody>
      <dsp:txXfrm>
        <a:off x="9908" y="407542"/>
        <a:ext cx="5316268" cy="1746866"/>
      </dsp:txXfrm>
    </dsp:sp>
    <dsp:sp modelId="{245010FA-B1E5-41AC-9B22-1B3DEFC6DF23}">
      <dsp:nvSpPr>
        <dsp:cNvPr id="0" name=""/>
        <dsp:cNvSpPr/>
      </dsp:nvSpPr>
      <dsp:spPr>
        <a:xfrm>
          <a:off x="5617320" y="407542"/>
          <a:ext cx="5253497" cy="174686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Marking a computed column as PERSISTED allows an index to be created on a computed column that is deterministic.</a:t>
          </a:r>
          <a:endParaRPr lang="en-US" sz="2500" kern="1200"/>
        </a:p>
      </dsp:txBody>
      <dsp:txXfrm>
        <a:off x="5617320" y="407542"/>
        <a:ext cx="5253497" cy="174686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92B9D-A5AF-4E9E-87F4-070BF93E13EC}">
      <dsp:nvSpPr>
        <dsp:cNvPr id="0" name=""/>
        <dsp:cNvSpPr/>
      </dsp:nvSpPr>
      <dsp:spPr>
        <a:xfrm rot="5400000">
          <a:off x="6969511" y="-2942874"/>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AU" sz="1600" kern="1200" baseline="0"/>
            <a:t>DISTINCT property can be ignored</a:t>
          </a:r>
          <a:endParaRPr lang="en-US" sz="1600" kern="1200"/>
        </a:p>
        <a:p>
          <a:pPr marL="171450" lvl="1" indent="-171450" algn="l" defTabSz="711200">
            <a:lnSpc>
              <a:spcPct val="90000"/>
            </a:lnSpc>
            <a:spcBef>
              <a:spcPct val="0"/>
            </a:spcBef>
            <a:spcAft>
              <a:spcPct val="15000"/>
            </a:spcAft>
            <a:buChar char="•"/>
          </a:pPr>
          <a:r>
            <a:rPr lang="en-AU" sz="1600" kern="1200" baseline="0"/>
            <a:t>Extra columns in ORDER BY may be ignored</a:t>
          </a:r>
          <a:endParaRPr lang="en-US" sz="1600" kern="1200"/>
        </a:p>
      </dsp:txBody>
      <dsp:txXfrm rot="-5400000">
        <a:off x="3917060" y="151498"/>
        <a:ext cx="6921742" cy="774918"/>
      </dsp:txXfrm>
    </dsp:sp>
    <dsp:sp modelId="{18672B27-A6BE-4FCE-A681-6D1BC43E1967}">
      <dsp:nvSpPr>
        <dsp:cNvPr id="0" name=""/>
        <dsp:cNvSpPr/>
      </dsp:nvSpPr>
      <dsp:spPr>
        <a:xfrm>
          <a:off x="0" y="2231"/>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UNIQUE constraint</a:t>
          </a:r>
          <a:endParaRPr lang="en-US" sz="3300" kern="1200"/>
        </a:p>
      </dsp:txBody>
      <dsp:txXfrm>
        <a:off x="52402" y="54633"/>
        <a:ext cx="3812256" cy="968647"/>
      </dsp:txXfrm>
    </dsp:sp>
    <dsp:sp modelId="{5D60118C-FEB0-42E7-A589-854162413393}">
      <dsp:nvSpPr>
        <dsp:cNvPr id="0" name=""/>
        <dsp:cNvSpPr/>
      </dsp:nvSpPr>
      <dsp:spPr>
        <a:xfrm rot="5400000">
          <a:off x="6969511" y="-1815750"/>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b="0" i="0" kern="1200"/>
            <a:t>CHECK constraints enforce domain integrity by limiting the values that are accepted by one or more columns.</a:t>
          </a:r>
          <a:endParaRPr lang="en-US" sz="1600" kern="1200"/>
        </a:p>
      </dsp:txBody>
      <dsp:txXfrm rot="-5400000">
        <a:off x="3917060" y="1278622"/>
        <a:ext cx="6921742" cy="774918"/>
      </dsp:txXfrm>
    </dsp:sp>
    <dsp:sp modelId="{33E8B1D0-94EE-4798-8A77-AFCA75BD196B}">
      <dsp:nvSpPr>
        <dsp:cNvPr id="0" name=""/>
        <dsp:cNvSpPr/>
      </dsp:nvSpPr>
      <dsp:spPr>
        <a:xfrm>
          <a:off x="0" y="1129355"/>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CHECK constraint</a:t>
          </a:r>
          <a:endParaRPr lang="en-US" sz="3300" kern="1200"/>
        </a:p>
      </dsp:txBody>
      <dsp:txXfrm>
        <a:off x="52402" y="1181757"/>
        <a:ext cx="3812256" cy="968647"/>
      </dsp:txXfrm>
    </dsp:sp>
    <dsp:sp modelId="{E3F50297-C815-4AEB-BC7B-3D379A1D8FBA}">
      <dsp:nvSpPr>
        <dsp:cNvPr id="0" name=""/>
        <dsp:cNvSpPr/>
      </dsp:nvSpPr>
      <dsp:spPr>
        <a:xfrm rot="5400000">
          <a:off x="6969511" y="-688626"/>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AU" sz="1600" kern="1200" baseline="0"/>
            <a:t>Special case of UNIQUE constraint</a:t>
          </a:r>
          <a:endParaRPr lang="en-US" sz="1600" kern="1200"/>
        </a:p>
      </dsp:txBody>
      <dsp:txXfrm rot="-5400000">
        <a:off x="3917060" y="2405746"/>
        <a:ext cx="6921742" cy="774918"/>
      </dsp:txXfrm>
    </dsp:sp>
    <dsp:sp modelId="{CA6718A8-5035-457F-840A-B57373C1D751}">
      <dsp:nvSpPr>
        <dsp:cNvPr id="0" name=""/>
        <dsp:cNvSpPr/>
      </dsp:nvSpPr>
      <dsp:spPr>
        <a:xfrm>
          <a:off x="0" y="2256479"/>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Primary Key</a:t>
          </a:r>
          <a:endParaRPr lang="en-US" sz="3300" kern="1200"/>
        </a:p>
      </dsp:txBody>
      <dsp:txXfrm>
        <a:off x="52402" y="2308881"/>
        <a:ext cx="3812256" cy="968647"/>
      </dsp:txXfrm>
    </dsp:sp>
    <dsp:sp modelId="{00982988-5065-4C79-BF9E-52765E3DC6ED}">
      <dsp:nvSpPr>
        <dsp:cNvPr id="0" name=""/>
        <dsp:cNvSpPr/>
      </dsp:nvSpPr>
      <dsp:spPr>
        <a:xfrm rot="5400000">
          <a:off x="6969511" y="438496"/>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AU" sz="1600" kern="1200" baseline="0"/>
            <a:t>Declarative Referential Integrity (DRI)</a:t>
          </a:r>
          <a:endParaRPr lang="en-US" sz="1600" kern="1200"/>
        </a:p>
        <a:p>
          <a:pPr marL="171450" lvl="1" indent="-171450" algn="l" defTabSz="711200">
            <a:lnSpc>
              <a:spcPct val="90000"/>
            </a:lnSpc>
            <a:spcBef>
              <a:spcPct val="0"/>
            </a:spcBef>
            <a:spcAft>
              <a:spcPct val="15000"/>
            </a:spcAft>
            <a:buChar char="•"/>
          </a:pPr>
          <a:r>
            <a:rPr lang="en-AU" sz="1600" kern="1200" baseline="0"/>
            <a:t>Usually faster than triggers</a:t>
          </a:r>
          <a:endParaRPr lang="en-US" sz="1600" kern="1200"/>
        </a:p>
        <a:p>
          <a:pPr marL="171450" lvl="1" indent="-171450" algn="l" defTabSz="711200">
            <a:lnSpc>
              <a:spcPct val="90000"/>
            </a:lnSpc>
            <a:spcBef>
              <a:spcPct val="0"/>
            </a:spcBef>
            <a:spcAft>
              <a:spcPct val="15000"/>
            </a:spcAft>
            <a:buChar char="•"/>
          </a:pPr>
          <a:r>
            <a:rPr lang="en-AU" sz="1600" kern="1200" baseline="0"/>
            <a:t>Allows the query optimizer to identify unnecessary joins</a:t>
          </a:r>
          <a:endParaRPr lang="en-US" sz="1600" kern="1200"/>
        </a:p>
      </dsp:txBody>
      <dsp:txXfrm rot="-5400000">
        <a:off x="3917060" y="3532869"/>
        <a:ext cx="6921742" cy="774918"/>
      </dsp:txXfrm>
    </dsp:sp>
    <dsp:sp modelId="{1042B6E9-CB62-4628-BBA4-005FF68B93D7}">
      <dsp:nvSpPr>
        <dsp:cNvPr id="0" name=""/>
        <dsp:cNvSpPr/>
      </dsp:nvSpPr>
      <dsp:spPr>
        <a:xfrm>
          <a:off x="0" y="3383603"/>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Foreign Key</a:t>
          </a:r>
          <a:endParaRPr lang="en-US" sz="3300" kern="1200"/>
        </a:p>
      </dsp:txBody>
      <dsp:txXfrm>
        <a:off x="52402" y="3436005"/>
        <a:ext cx="3812256" cy="96864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5693A-04F5-4C8F-8B46-379746833C42}">
      <dsp:nvSpPr>
        <dsp:cNvPr id="0" name=""/>
        <dsp:cNvSpPr/>
      </dsp:nvSpPr>
      <dsp:spPr>
        <a:xfrm>
          <a:off x="816054" y="0"/>
          <a:ext cx="9248615" cy="358703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C58448-060D-431A-9323-7801F3F07C70}">
      <dsp:nvSpPr>
        <dsp:cNvPr id="0" name=""/>
        <dsp:cNvSpPr/>
      </dsp:nvSpPr>
      <dsp:spPr>
        <a:xfrm>
          <a:off x="368712" y="1076109"/>
          <a:ext cx="3264217" cy="14348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SQL Server "sniffs" current parameter values during compilation or recompilation.</a:t>
          </a:r>
          <a:endParaRPr lang="en-US" sz="1800" kern="1200"/>
        </a:p>
      </dsp:txBody>
      <dsp:txXfrm>
        <a:off x="438754" y="1146151"/>
        <a:ext cx="3124133" cy="1294728"/>
      </dsp:txXfrm>
    </dsp:sp>
    <dsp:sp modelId="{1B442994-0E15-4A52-B43C-CFB59787DBF0}">
      <dsp:nvSpPr>
        <dsp:cNvPr id="0" name=""/>
        <dsp:cNvSpPr/>
      </dsp:nvSpPr>
      <dsp:spPr>
        <a:xfrm>
          <a:off x="3808253" y="1076109"/>
          <a:ext cx="3264217" cy="14348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Parameter values are passed along to Query Optimizer, generating a more efficient execution plan.</a:t>
          </a:r>
          <a:endParaRPr lang="en-US" sz="1800" kern="1200"/>
        </a:p>
      </dsp:txBody>
      <dsp:txXfrm>
        <a:off x="3878295" y="1146151"/>
        <a:ext cx="3124133" cy="1294728"/>
      </dsp:txXfrm>
    </dsp:sp>
    <dsp:sp modelId="{519C6324-A2F1-4291-8DF3-F1C903E9BBB6}">
      <dsp:nvSpPr>
        <dsp:cNvPr id="0" name=""/>
        <dsp:cNvSpPr/>
      </dsp:nvSpPr>
      <dsp:spPr>
        <a:xfrm>
          <a:off x="7247794" y="1076109"/>
          <a:ext cx="3264217" cy="14348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The generated plan stays in query cache.</a:t>
          </a:r>
          <a:endParaRPr lang="en-US" sz="1800" kern="1200"/>
        </a:p>
      </dsp:txBody>
      <dsp:txXfrm>
        <a:off x="7317836" y="1146151"/>
        <a:ext cx="3124133" cy="12947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4A0A1-C166-4C7D-B49D-5822147D43EE}">
      <dsp:nvSpPr>
        <dsp:cNvPr id="0" name=""/>
        <dsp:cNvSpPr/>
      </dsp:nvSpPr>
      <dsp:spPr>
        <a:xfrm>
          <a:off x="1785885" y="148098"/>
          <a:ext cx="2652897" cy="811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baseline="0"/>
            <a:t>Parameter sniffing can be seen on the following types of batches:</a:t>
          </a:r>
          <a:endParaRPr lang="en-US" sz="1600" kern="1200"/>
        </a:p>
      </dsp:txBody>
      <dsp:txXfrm>
        <a:off x="1785885" y="148098"/>
        <a:ext cx="2652897" cy="811799"/>
      </dsp:txXfrm>
    </dsp:sp>
    <dsp:sp modelId="{60E69ADB-0BDB-4256-AA0B-31CD1D991BED}">
      <dsp:nvSpPr>
        <dsp:cNvPr id="0" name=""/>
        <dsp:cNvSpPr/>
      </dsp:nvSpPr>
      <dsp:spPr>
        <a:xfrm>
          <a:off x="4438782" y="84676"/>
          <a:ext cx="530579" cy="938643"/>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81D50E-37FC-4887-B603-EE43F59C020D}">
      <dsp:nvSpPr>
        <dsp:cNvPr id="0" name=""/>
        <dsp:cNvSpPr/>
      </dsp:nvSpPr>
      <dsp:spPr>
        <a:xfrm>
          <a:off x="5181593" y="84676"/>
          <a:ext cx="3654482" cy="9386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a:t>Stored procedures</a:t>
          </a:r>
        </a:p>
        <a:p>
          <a:pPr marL="171450" lvl="1" indent="-171450" algn="l" defTabSz="711200">
            <a:lnSpc>
              <a:spcPct val="90000"/>
            </a:lnSpc>
            <a:spcBef>
              <a:spcPct val="0"/>
            </a:spcBef>
            <a:spcAft>
              <a:spcPct val="15000"/>
            </a:spcAft>
            <a:buChar char="•"/>
          </a:pPr>
          <a:r>
            <a:rPr lang="en-US" sz="1600" kern="1200"/>
            <a:t>Queries submitted via </a:t>
          </a:r>
          <a:r>
            <a:rPr lang="en-US" sz="1600" kern="1200">
              <a:solidFill>
                <a:schemeClr val="bg1"/>
              </a:solidFill>
            </a:rPr>
            <a:t>sp_executesql</a:t>
          </a:r>
        </a:p>
        <a:p>
          <a:pPr marL="171450" lvl="1" indent="-171450" algn="l" defTabSz="711200">
            <a:lnSpc>
              <a:spcPct val="90000"/>
            </a:lnSpc>
            <a:spcBef>
              <a:spcPct val="0"/>
            </a:spcBef>
            <a:spcAft>
              <a:spcPct val="15000"/>
            </a:spcAft>
            <a:buChar char="•"/>
          </a:pPr>
          <a:r>
            <a:rPr lang="en-US" sz="1600" kern="1200"/>
            <a:t>Prepared queries</a:t>
          </a:r>
        </a:p>
      </dsp:txBody>
      <dsp:txXfrm>
        <a:off x="5181593" y="84676"/>
        <a:ext cx="3654482" cy="93864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7.04.2025</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4/7/2025</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sql/t-sql/queries/hints-transact-sql-query"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docs.microsoft.com/en-us/sql/t-sql/queries/hints-transact-sql-query?view=sql-server-ver15" TargetMode="External"/><Relationship Id="rId4" Type="http://schemas.openxmlformats.org/officeDocument/2006/relationships/hyperlink" Target="https://docs.microsoft.com/en-us/azure/sql-database/sql-database-automatic-tuning"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techcommunity.microsoft.com/t5/sql-server/when-do-conversions-generate-conversion-warnings-and-why-are/ba-p/384356"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1250(v=sql.105)?redirectedfrom=MSD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indexes/indexes-on-computed-columns?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tables/primary-and-foreign-key-constraints?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sql/relational-databases/tables/unique-constraints-and-check-constraints?view=sql-server-ver15"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azure/sql-database/sql-database-monitor-tune-overview#troubleshoot-performance-problem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a:solidFill>
                  <a:schemeClr val="tx1"/>
                </a:solidFill>
                <a:effectLst/>
                <a:latin typeface="+mn-lt"/>
                <a:ea typeface="+mn-ea"/>
                <a:cs typeface="+mn-cs"/>
              </a:rPr>
              <a:t>Several workarounds can mitigate Parameter Sniffing problems. Each workaround has associated tradeoffs and drawback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RECOMPILE</a:t>
            </a:r>
            <a:r>
              <a:rPr lang="en-US" sz="882" b="0" i="0" kern="1200" baseline="0">
                <a:solidFill>
                  <a:schemeClr val="tx1"/>
                </a:solidFill>
                <a:effectLst/>
                <a:latin typeface="+mn-lt"/>
                <a:ea typeface="+mn-ea"/>
                <a:cs typeface="+mn-cs"/>
              </a:rPr>
              <a:t> query hint at each query execution. This workaround trades compilation time and increased CPU for better plan quality. The RECOMPILE option is often not possible for workloads that require a high throughpu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OPTION (OPTIMIZE FOR…)</a:t>
            </a:r>
            <a:r>
              <a:rPr lang="en-US" sz="882" b="0" i="0" kern="1200" baseline="0">
                <a:solidFill>
                  <a:schemeClr val="tx1"/>
                </a:solidFill>
                <a:effectLst/>
                <a:latin typeface="+mn-lt"/>
                <a:ea typeface="+mn-ea"/>
                <a:cs typeface="+mn-cs"/>
              </a:rPr>
              <a:t> query hint to override the actual parameter value with a typical parameter value that produces a plan that's good enough for most parameter value possibilities. This option requires a good understanding of optimal parameter values and associated plan characteristics.</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OPTION (OPTIMIZE FOR UNKNOWN)</a:t>
            </a:r>
            <a:r>
              <a:rPr lang="en-US" sz="882" b="0" i="0" kern="1200" baseline="0">
                <a:solidFill>
                  <a:schemeClr val="tx1"/>
                </a:solidFill>
                <a:effectLst/>
                <a:latin typeface="+mn-lt"/>
                <a:ea typeface="+mn-ea"/>
                <a:cs typeface="+mn-cs"/>
              </a:rPr>
              <a:t> query hint to override the actual parameter value and instead use the density vector average. You can also do this by capturing the incoming parameter values in local variables and then using the local variables within the predicates instead of using the parameters themselves. For this fix, the average density must be </a:t>
            </a:r>
            <a:r>
              <a:rPr lang="en-US" sz="882" b="0" i="1" kern="1200" baseline="0">
                <a:solidFill>
                  <a:schemeClr val="tx1"/>
                </a:solidFill>
                <a:effectLst/>
                <a:latin typeface="+mn-lt"/>
                <a:ea typeface="+mn-ea"/>
                <a:cs typeface="+mn-cs"/>
              </a:rPr>
              <a:t>good enough</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Disable parameter sniffing entirely by using the </a:t>
            </a:r>
            <a:r>
              <a:rPr lang="en-US" sz="882" b="0" i="0" u="none" strike="noStrike" kern="1200" baseline="0">
                <a:solidFill>
                  <a:schemeClr val="tx1"/>
                </a:solidFill>
                <a:effectLst/>
                <a:latin typeface="+mn-lt"/>
                <a:ea typeface="+mn-ea"/>
                <a:cs typeface="+mn-cs"/>
                <a:hlinkClick r:id="rId3"/>
              </a:rPr>
              <a:t>DISABLE_PARAMETER_SNIFFING</a:t>
            </a:r>
            <a:r>
              <a:rPr lang="en-US" sz="882" b="0" i="0" kern="1200" baseline="0">
                <a:solidFill>
                  <a:schemeClr val="tx1"/>
                </a:solidFill>
                <a:effectLst/>
                <a:latin typeface="+mn-lt"/>
                <a:ea typeface="+mn-ea"/>
                <a:cs typeface="+mn-cs"/>
              </a:rPr>
              <a:t> query hin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KEEPFIXEDPLAN</a:t>
            </a:r>
            <a:r>
              <a:rPr lang="en-US" sz="882" b="0" i="0" kern="1200" baseline="0">
                <a:solidFill>
                  <a:schemeClr val="tx1"/>
                </a:solidFill>
                <a:effectLst/>
                <a:latin typeface="+mn-lt"/>
                <a:ea typeface="+mn-ea"/>
                <a:cs typeface="+mn-cs"/>
              </a:rPr>
              <a:t> query hint to prevent recompilations in cache. This workaround assumes that the good-enough common plan is the one in cache already. You can also disable automatic statistics updates to reduce the chances that the good plan will be evicted and a new bad plan will be compiled.</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Force the plan by explicitly using the </a:t>
            </a:r>
            <a:r>
              <a:rPr lang="en-US" sz="882" b="0" i="0" u="none" strike="noStrike" kern="1200" baseline="0">
                <a:solidFill>
                  <a:schemeClr val="tx1"/>
                </a:solidFill>
                <a:effectLst/>
                <a:latin typeface="+mn-lt"/>
                <a:ea typeface="+mn-ea"/>
                <a:cs typeface="+mn-cs"/>
                <a:hlinkClick r:id="rId3"/>
              </a:rPr>
              <a:t>USE PLAN</a:t>
            </a:r>
            <a:r>
              <a:rPr lang="en-US" sz="882" b="0" i="0" kern="1200" baseline="0">
                <a:solidFill>
                  <a:schemeClr val="tx1"/>
                </a:solidFill>
                <a:effectLst/>
                <a:latin typeface="+mn-lt"/>
                <a:ea typeface="+mn-ea"/>
                <a:cs typeface="+mn-cs"/>
              </a:rPr>
              <a:t> query hint by rewriting the query and adding the hint in the query text. Or set a specific plan by using Query Store or by enabling </a:t>
            </a:r>
            <a:r>
              <a:rPr lang="en-US" sz="882" b="0" i="0" u="none" strike="noStrike" kern="1200" baseline="0">
                <a:solidFill>
                  <a:schemeClr val="tx1"/>
                </a:solidFill>
                <a:effectLst/>
                <a:latin typeface="+mn-lt"/>
                <a:ea typeface="+mn-ea"/>
                <a:cs typeface="+mn-cs"/>
                <a:hlinkClick r:id="rId4"/>
              </a:rPr>
              <a:t>automatic tuning</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Replace the single procedure with a nested set of procedures that can each be used based on conditional logic and the associated parameter values.</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Create dynamic string execution alternatives to a static procedure definition.</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For further information refer to:</a:t>
            </a:r>
          </a:p>
          <a:p>
            <a:pPr marL="0" indent="0">
              <a:buFont typeface="Arial" panose="020B0604020202020204" pitchFamily="34" charset="0"/>
              <a:buNone/>
            </a:pPr>
            <a:r>
              <a:rPr lang="en-US">
                <a:hlinkClick r:id="rId5"/>
              </a:rPr>
              <a:t>https://docs.microsoft.com/en-us/sql/t-sql/queries/hints-transact-sql-query?view=sql-server-ver15</a:t>
            </a:r>
            <a:endParaRPr lang="en-US" sz="882" b="0" i="0" kern="1200" baseline="0">
              <a:solidFill>
                <a:schemeClr val="tx1"/>
              </a:solidFill>
              <a:effectLst/>
              <a:latin typeface="+mn-lt"/>
              <a:ea typeface="+mn-ea"/>
              <a:cs typeface="+mn-cs"/>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391441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7/2025</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pPr lvl="0" defTabSz="914460">
              <a:lnSpc>
                <a:spcPct val="90000"/>
              </a:lnSpc>
              <a:spcAft>
                <a:spcPts val="333"/>
              </a:spcAft>
              <a:defRPr/>
            </a:pPr>
            <a:r>
              <a:rPr lang="en-US" sz="1800" b="0" dirty="0"/>
              <a:t>E:\Demos\09_Query_Tuning</a:t>
            </a:r>
            <a:r>
              <a:rPr lang="en-US" sz="800" i="1" noProof="0" dirty="0">
                <a:solidFill>
                  <a:prstClr val="black"/>
                </a:solidFill>
                <a:latin typeface="Segoe UI Light" pitchFamily="34" charset="0"/>
              </a:rPr>
              <a:t>\</a:t>
            </a:r>
            <a:r>
              <a:rPr lang="en-US" sz="882" i="1" dirty="0" err="1">
                <a:solidFill>
                  <a:prstClr val="black"/>
                </a:solidFill>
                <a:latin typeface="Segoe UI Light" pitchFamily="34" charset="0"/>
              </a:rPr>
              <a:t>SARGability.sql</a:t>
            </a:r>
            <a:r>
              <a:rPr lang="en-US" sz="882" dirty="0">
                <a:solidFill>
                  <a:prstClr val="black"/>
                </a:solidFill>
                <a:latin typeface="Segoe UI Light" pitchFamily="34" charset="0"/>
              </a:rPr>
              <a:t>”</a:t>
            </a:r>
            <a:endParaRPr lang="en-US" sz="882" kern="1200" baseline="0" dirty="0">
              <a:solidFill>
                <a:schemeClr val="tx1"/>
              </a:solidFill>
              <a:effectLst/>
              <a:latin typeface="+mn-lt"/>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a:solidFill>
                  <a:srgbClr val="000000"/>
                </a:solidFill>
                <a:latin typeface="Consolas" panose="020B0609020204030204" pitchFamily="49" charset="0"/>
              </a:rPr>
              <a:t>M09L01Lab01</a:t>
            </a:r>
            <a:r>
              <a:rPr lang="en-US" sz="882" b="0" i="0" kern="1200" baseline="0">
                <a:solidFill>
                  <a:schemeClr val="tx1"/>
                </a:solidFill>
                <a:effectLst/>
                <a:latin typeface="+mn-lt"/>
                <a:ea typeface="+mn-ea"/>
                <a:cs typeface="+mn-cs"/>
              </a:rPr>
              <a:t> </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Lab: Query Tuning SARGability</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In this lab, you will learn about SARGability.</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Objectives</a:t>
            </a:r>
          </a:p>
          <a:p>
            <a:pPr marL="0" indent="0">
              <a:buFont typeface="Arial" panose="020B0604020202020204" pitchFamily="34" charset="0"/>
              <a:buNone/>
            </a:pPr>
            <a:r>
              <a:rPr lang="en-US" sz="882" b="0" i="0" kern="1200" baseline="0">
                <a:solidFill>
                  <a:schemeClr val="tx1"/>
                </a:solidFill>
                <a:effectLst/>
                <a:latin typeface="+mn-lt"/>
                <a:ea typeface="+mn-ea"/>
                <a:cs typeface="+mn-cs"/>
              </a:rPr>
              <a:t>After completing this lab, you will be able to:</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Help the optimizer to create better plans by using SARGable expressions.</a:t>
            </a:r>
          </a:p>
          <a:p>
            <a:endParaRPr lang="en-US" sz="882" b="0" i="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r>
              <a:rPr lang="en-US"/>
              <a:t>Answer 1:</a:t>
            </a:r>
          </a:p>
          <a:p>
            <a:pPr marL="0" lvl="0" indent="0">
              <a:buFont typeface="+mj-lt"/>
              <a:buNone/>
            </a:pPr>
            <a:r>
              <a:rPr lang="en-US"/>
              <a:t>Give two examples of non-SARGable expressions. Some examples of non-SARGable expressions are:</a:t>
            </a:r>
          </a:p>
          <a:p>
            <a:pPr marL="228600" lvl="0" indent="-228600">
              <a:buFont typeface="+mj-lt"/>
              <a:buAutoNum type="arabicPeriod"/>
            </a:pPr>
            <a:endParaRPr lang="en-US"/>
          </a:p>
          <a:p>
            <a:pPr marL="438912" lvl="1" indent="-228600"/>
            <a:r>
              <a:rPr lang="en-US"/>
              <a:t>Column wrapped in a function like YEAR(OrderDate)</a:t>
            </a:r>
          </a:p>
          <a:p>
            <a:pPr marL="438912" lvl="1" indent="-228600"/>
            <a:r>
              <a:rPr lang="en-US"/>
              <a:t>Implicit conversions like  VARCHAR column values to NVARCHAR</a:t>
            </a:r>
          </a:p>
          <a:p>
            <a:pPr marL="438912" lvl="1" indent="-228600"/>
            <a:r>
              <a:rPr lang="en-US"/>
              <a:t>Where Employee.FirstName LIKE '%x%‘</a:t>
            </a:r>
          </a:p>
          <a:p>
            <a:pPr marL="438912" lvl="1" indent="-228600"/>
            <a:r>
              <a:rPr lang="en-US"/>
              <a:t>Where Sales.Price + Sales.Tax &gt; 100</a:t>
            </a:r>
          </a:p>
          <a:p>
            <a:pPr lvl="2"/>
            <a:endParaRPr lang="en-US"/>
          </a:p>
          <a:p>
            <a:pPr marL="0" marR="0" lvl="0"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a:t>Answer 2:</a:t>
            </a:r>
          </a:p>
          <a:p>
            <a:pPr marL="0" marR="0" lvl="0"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a:t>Explain three hints we can use to mitigate Parameter Sniffing issues</a:t>
            </a:r>
          </a:p>
          <a:p>
            <a:pPr marL="329184" marR="0" lvl="1" indent="-228600" algn="l" defTabSz="914400" rtl="0" eaLnBrk="1" fontAlgn="auto" latinLnBrk="0" hangingPunct="1">
              <a:lnSpc>
                <a:spcPct val="90000"/>
              </a:lnSpc>
              <a:spcBef>
                <a:spcPts val="333"/>
              </a:spcBef>
              <a:spcAft>
                <a:spcPts val="0"/>
              </a:spcAft>
              <a:buClr>
                <a:schemeClr val="tx1"/>
              </a:buClr>
              <a:buSzPct val="90000"/>
              <a:buFont typeface="+mj-lt"/>
              <a:buAutoNum type="arabicPeriod"/>
              <a:tabLst/>
              <a:defRPr/>
            </a:pPr>
            <a:endParaRPr lang="en-US"/>
          </a:p>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a:t>Recompile</a:t>
            </a:r>
          </a:p>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aseline="0"/>
              <a:t>OPTION (OPTIMIZE FOR UNKNOWN)</a:t>
            </a:r>
          </a:p>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aseline="0"/>
              <a:t>DISABLE_PARAMETER_SNIFFING</a:t>
            </a:r>
            <a:endParaRPr lang="en-US"/>
          </a:p>
          <a:p>
            <a:pPr marL="210312" lvl="1" indent="-109728"/>
            <a:endParaRPr lang="en-US"/>
          </a:p>
          <a:p>
            <a:pPr marL="210312" lvl="1" indent="-109728"/>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3938723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7/2025</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In relational databases, a condition (or predicate) in a query is said to be sargable if the DBMS engine can take advantage of an index to speed up the execution of the query. The term is derived from a contraction of Search ARGumen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en.wikipedia.org/wiki/Sargable</a:t>
            </a: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1020229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compile time, the SQL Server Query Optimizer uses statistics and some internal transformation rules and heuristics to determine the best possible plan that it can use to run a query. </a:t>
            </a:r>
          </a:p>
          <a:p>
            <a:r>
              <a:rPr lang="en-US" dirty="0"/>
              <a:t>In this process, we have already seen that the WHERE clause is one of the first to be evaluated, and it is according to the estimated cost to resolve the search predicates that the Query Optimizer chooses to do seeks or scans over indexes, if available.</a:t>
            </a:r>
          </a:p>
          <a:p>
            <a:r>
              <a:rPr lang="en-US" dirty="0"/>
              <a:t>However, there are some rules, we must pay attention to influence the ability of the Optimizer to use histograms in order to do the estimations, and instead force that either density vectors are used, or even pre-determined estimations (like estimating 1 row for table variables), which are sometimes called magic densities. </a:t>
            </a:r>
          </a:p>
          <a:p>
            <a:pPr lvl="0"/>
            <a:r>
              <a:rPr lang="en-US" dirty="0"/>
              <a:t>Given this, here are a few indications of when an index cannot be used for a seek:</a:t>
            </a:r>
          </a:p>
          <a:p>
            <a:pPr lvl="1"/>
            <a:r>
              <a:rPr lang="en-US" dirty="0"/>
              <a:t>When some complex expressions are used as the search predicates, and these are unknown at compile time.</a:t>
            </a:r>
          </a:p>
          <a:p>
            <a:pPr lvl="1"/>
            <a:r>
              <a:rPr lang="en-US" dirty="0"/>
              <a:t>With expressions using functions. There are some exceptions to this, notably the CAST function in certain circumstances used with a date field. However, generally avoid functions that operate on a column if index usage is desired.</a:t>
            </a:r>
          </a:p>
          <a:p>
            <a:pPr lvl="1"/>
            <a:r>
              <a:rPr lang="en-US" dirty="0"/>
              <a:t>With inequalities in predicates.</a:t>
            </a:r>
          </a:p>
          <a:p>
            <a:pPr lvl="1"/>
            <a:r>
              <a:rPr lang="en-US" dirty="0"/>
              <a:t>With implicit conversions, as these are not known at compile time.</a:t>
            </a:r>
          </a:p>
          <a:p>
            <a:pPr lvl="1"/>
            <a:r>
              <a:rPr lang="en-US" dirty="0"/>
              <a:t>With LIKE expressions where the search condition starts with a wildcard character.</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1712023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r>
              <a:rPr lang="en-US" dirty="0">
                <a:hlinkClick r:id="rId3"/>
              </a:rPr>
              <a:t>https://techcommunity.microsoft.com/t5/sql-server/when-do-conversions-generate-conversion-warnings-and-why-are/ba-p/384356</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515639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a:solidFill>
                  <a:schemeClr val="tx1"/>
                </a:solidFill>
                <a:effectLst/>
                <a:latin typeface="+mn-lt"/>
                <a:ea typeface="+mn-ea"/>
                <a:cs typeface="+mn-cs"/>
              </a:rPr>
              <a:t>A computed column is computed from an expression that can use other columns in the same table. The expression can be a noncomputed column name, constant, function, and any combination of these connected by one or more operators. The expression cannot be a subquery.</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For example, in the AdventureWorks2008R2 sample database, the </a:t>
            </a:r>
            <a:r>
              <a:rPr lang="en-US" sz="882" b="1" i="0" kern="1200" baseline="0">
                <a:solidFill>
                  <a:schemeClr val="tx1"/>
                </a:solidFill>
                <a:effectLst/>
                <a:latin typeface="+mn-lt"/>
                <a:ea typeface="+mn-ea"/>
                <a:cs typeface="+mn-cs"/>
              </a:rPr>
              <a:t>TotalDue</a:t>
            </a:r>
            <a:r>
              <a:rPr lang="en-US" sz="882" b="0" i="0" kern="1200" baseline="0">
                <a:solidFill>
                  <a:schemeClr val="tx1"/>
                </a:solidFill>
                <a:effectLst/>
                <a:latin typeface="+mn-lt"/>
                <a:ea typeface="+mn-ea"/>
                <a:cs typeface="+mn-cs"/>
              </a:rPr>
              <a:t> column of the </a:t>
            </a:r>
            <a:r>
              <a:rPr lang="en-US" sz="882" b="1" i="0" kern="1200" baseline="0">
                <a:solidFill>
                  <a:schemeClr val="tx1"/>
                </a:solidFill>
                <a:effectLst/>
                <a:latin typeface="+mn-lt"/>
                <a:ea typeface="+mn-ea"/>
                <a:cs typeface="+mn-cs"/>
              </a:rPr>
              <a:t>Sales.SalesOrderHeader</a:t>
            </a:r>
            <a:r>
              <a:rPr lang="en-US" sz="882" b="0" i="0" kern="1200" baseline="0">
                <a:solidFill>
                  <a:schemeClr val="tx1"/>
                </a:solidFill>
                <a:effectLst/>
                <a:latin typeface="+mn-lt"/>
                <a:ea typeface="+mn-ea"/>
                <a:cs typeface="+mn-cs"/>
              </a:rPr>
              <a:t> table has the definition: </a:t>
            </a:r>
            <a:r>
              <a:rPr lang="en-US" sz="882" b="1" i="0" kern="1200" baseline="0">
                <a:solidFill>
                  <a:schemeClr val="tx1"/>
                </a:solidFill>
                <a:effectLst/>
                <a:latin typeface="+mn-lt"/>
                <a:ea typeface="+mn-ea"/>
                <a:cs typeface="+mn-cs"/>
              </a:rPr>
              <a:t>TotalDue</a:t>
            </a:r>
            <a:r>
              <a:rPr lang="en-US" sz="882" b="0" i="0" kern="1200" baseline="0">
                <a:solidFill>
                  <a:schemeClr val="tx1"/>
                </a:solidFill>
                <a:effectLst/>
                <a:latin typeface="+mn-lt"/>
                <a:ea typeface="+mn-ea"/>
                <a:cs typeface="+mn-cs"/>
              </a:rPr>
              <a:t> AS </a:t>
            </a:r>
            <a:r>
              <a:rPr lang="en-US" sz="882" b="1" i="0" kern="1200" baseline="0">
                <a:solidFill>
                  <a:schemeClr val="tx1"/>
                </a:solidFill>
                <a:effectLst/>
                <a:latin typeface="+mn-lt"/>
                <a:ea typeface="+mn-ea"/>
                <a:cs typeface="+mn-cs"/>
              </a:rPr>
              <a:t>Subtotal</a:t>
            </a:r>
            <a:r>
              <a:rPr lang="en-US" sz="882" b="0" i="0" kern="1200" baseline="0">
                <a:solidFill>
                  <a:schemeClr val="tx1"/>
                </a:solidFill>
                <a:effectLst/>
                <a:latin typeface="+mn-lt"/>
                <a:ea typeface="+mn-ea"/>
                <a:cs typeface="+mn-cs"/>
              </a:rPr>
              <a:t> + </a:t>
            </a:r>
            <a:r>
              <a:rPr lang="en-US" sz="882" b="1" i="0" kern="1200" baseline="0">
                <a:solidFill>
                  <a:schemeClr val="tx1"/>
                </a:solidFill>
                <a:effectLst/>
                <a:latin typeface="+mn-lt"/>
                <a:ea typeface="+mn-ea"/>
                <a:cs typeface="+mn-cs"/>
              </a:rPr>
              <a:t>TaxAmt</a:t>
            </a:r>
            <a:r>
              <a:rPr lang="en-US" sz="882" b="0" i="0" kern="1200" baseline="0">
                <a:solidFill>
                  <a:schemeClr val="tx1"/>
                </a:solidFill>
                <a:effectLst/>
                <a:latin typeface="+mn-lt"/>
                <a:ea typeface="+mn-ea"/>
                <a:cs typeface="+mn-cs"/>
              </a:rPr>
              <a:t> + </a:t>
            </a:r>
            <a:r>
              <a:rPr lang="en-US" sz="882" b="1" i="0" kern="1200" baseline="0">
                <a:solidFill>
                  <a:schemeClr val="tx1"/>
                </a:solidFill>
                <a:effectLst/>
                <a:latin typeface="+mn-lt"/>
                <a:ea typeface="+mn-ea"/>
                <a:cs typeface="+mn-cs"/>
              </a:rPr>
              <a:t>Freight</a:t>
            </a:r>
            <a:r>
              <a:rPr lang="en-US" sz="882" b="0" i="0" kern="1200" baseline="0">
                <a:solidFill>
                  <a:schemeClr val="tx1"/>
                </a:solidFill>
                <a:effectLst/>
                <a:latin typeface="+mn-lt"/>
                <a:ea typeface="+mn-ea"/>
                <a:cs typeface="+mn-cs"/>
              </a:rPr>
              <a:t>.</a:t>
            </a:r>
          </a:p>
          <a:p>
            <a:endParaRPr lang="en-US"/>
          </a:p>
          <a:p>
            <a:r>
              <a:rPr lang="en-US" sz="882" b="0" i="0" kern="1200" baseline="0">
                <a:solidFill>
                  <a:schemeClr val="tx1"/>
                </a:solidFill>
                <a:effectLst/>
                <a:latin typeface="+mn-lt"/>
                <a:ea typeface="+mn-ea"/>
                <a:cs typeface="+mn-cs"/>
              </a:rPr>
              <a:t>Unless otherwise specified, computed columns are virtual columns that are not physically stored in the table. Their values are recalculated every time they are referenced in a query. The Database Engine uses the PERSISTED keyword in the CREATE TABLE and ALTER TABLE statements to physically store computed columns in the table.</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Computed columns can be used in select lists, WHERE clauses, ORDER BY clauses, or any other locations in which regular expressions can be used, with the following exception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Computed columns used as CHECK, FOREIGN KEY, or NOT NULL constraints must be marked PERSISTED. A computed column can be used as a key column in an index or as part of any PRIMARY KEY or UNIQUE constraint if the computed column value is defined by a deterministic expression and the data type of the result is allowed in index column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For example, if the table has integer columns </a:t>
            </a:r>
            <a:r>
              <a:rPr lang="en-US" sz="882" b="1" i="0" kern="1200" baseline="0">
                <a:solidFill>
                  <a:schemeClr val="tx1"/>
                </a:solidFill>
                <a:effectLst/>
                <a:latin typeface="+mn-lt"/>
                <a:ea typeface="+mn-ea"/>
                <a:cs typeface="+mn-cs"/>
              </a:rPr>
              <a:t>a</a:t>
            </a:r>
            <a:r>
              <a:rPr lang="en-US" sz="882" b="0" i="0" kern="1200" baseline="0">
                <a:solidFill>
                  <a:schemeClr val="tx1"/>
                </a:solidFill>
                <a:effectLst/>
                <a:latin typeface="+mn-lt"/>
                <a:ea typeface="+mn-ea"/>
                <a:cs typeface="+mn-cs"/>
              </a:rPr>
              <a:t> and </a:t>
            </a:r>
            <a:r>
              <a:rPr lang="en-US" sz="882" b="1" i="0" kern="1200" baseline="0">
                <a:solidFill>
                  <a:schemeClr val="tx1"/>
                </a:solidFill>
                <a:effectLst/>
                <a:latin typeface="+mn-lt"/>
                <a:ea typeface="+mn-ea"/>
                <a:cs typeface="+mn-cs"/>
              </a:rPr>
              <a:t>b</a:t>
            </a:r>
            <a:r>
              <a:rPr lang="en-US" sz="882" b="0" i="0" kern="1200" baseline="0">
                <a:solidFill>
                  <a:schemeClr val="tx1"/>
                </a:solidFill>
                <a:effectLst/>
                <a:latin typeface="+mn-lt"/>
                <a:ea typeface="+mn-ea"/>
                <a:cs typeface="+mn-cs"/>
              </a:rPr>
              <a:t>, the computed column </a:t>
            </a:r>
            <a:r>
              <a:rPr lang="en-US" sz="882" b="1" i="0" kern="1200" baseline="0">
                <a:solidFill>
                  <a:schemeClr val="tx1"/>
                </a:solidFill>
                <a:effectLst/>
                <a:latin typeface="+mn-lt"/>
                <a:ea typeface="+mn-ea"/>
                <a:cs typeface="+mn-cs"/>
              </a:rPr>
              <a:t>a</a:t>
            </a:r>
            <a:r>
              <a:rPr lang="en-US" sz="882" b="0" i="0" kern="1200" baseline="0">
                <a:solidFill>
                  <a:schemeClr val="tx1"/>
                </a:solidFill>
                <a:effectLst/>
                <a:latin typeface="+mn-lt"/>
                <a:ea typeface="+mn-ea"/>
                <a:cs typeface="+mn-cs"/>
              </a:rPr>
              <a:t> + </a:t>
            </a:r>
            <a:r>
              <a:rPr lang="en-US" sz="882" b="1" i="0" kern="1200" baseline="0">
                <a:solidFill>
                  <a:schemeClr val="tx1"/>
                </a:solidFill>
                <a:effectLst/>
                <a:latin typeface="+mn-lt"/>
                <a:ea typeface="+mn-ea"/>
                <a:cs typeface="+mn-cs"/>
              </a:rPr>
              <a:t>b</a:t>
            </a:r>
            <a:r>
              <a:rPr lang="en-US" sz="882" b="0" i="0" kern="1200" baseline="0">
                <a:solidFill>
                  <a:schemeClr val="tx1"/>
                </a:solidFill>
                <a:effectLst/>
                <a:latin typeface="+mn-lt"/>
                <a:ea typeface="+mn-ea"/>
                <a:cs typeface="+mn-cs"/>
              </a:rPr>
              <a:t> can be indexed, but computed column </a:t>
            </a:r>
            <a:r>
              <a:rPr lang="en-US" sz="882" b="1" i="0" kern="1200" baseline="0">
                <a:solidFill>
                  <a:schemeClr val="tx1"/>
                </a:solidFill>
                <a:effectLst/>
                <a:latin typeface="+mn-lt"/>
                <a:ea typeface="+mn-ea"/>
                <a:cs typeface="+mn-cs"/>
              </a:rPr>
              <a:t>a</a:t>
            </a:r>
            <a:r>
              <a:rPr lang="en-US" sz="882" b="0" i="0" kern="1200" baseline="0">
                <a:solidFill>
                  <a:schemeClr val="tx1"/>
                </a:solidFill>
                <a:effectLst/>
                <a:latin typeface="+mn-lt"/>
                <a:ea typeface="+mn-ea"/>
                <a:cs typeface="+mn-cs"/>
              </a:rPr>
              <a:t> + DATEPART(</a:t>
            </a:r>
            <a:r>
              <a:rPr lang="en-US" sz="882" b="1" i="0" kern="1200" baseline="0">
                <a:solidFill>
                  <a:schemeClr val="tx1"/>
                </a:solidFill>
                <a:effectLst/>
                <a:latin typeface="+mn-lt"/>
                <a:ea typeface="+mn-ea"/>
                <a:cs typeface="+mn-cs"/>
              </a:rPr>
              <a:t>dd,</a:t>
            </a:r>
            <a:r>
              <a:rPr lang="en-US" sz="882" b="0" i="0" kern="1200" baseline="0">
                <a:solidFill>
                  <a:schemeClr val="tx1"/>
                </a:solidFill>
                <a:effectLst/>
                <a:latin typeface="+mn-lt"/>
                <a:ea typeface="+mn-ea"/>
                <a:cs typeface="+mn-cs"/>
              </a:rPr>
              <a:t> GETDATE()) cannot be indexed because the value may change in subsequent invocation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A computed column cannot be the target of an INSERT or UPDATE statement.</a:t>
            </a:r>
          </a:p>
          <a:p>
            <a:pPr marL="0" indent="0">
              <a:buFont typeface="Arial" panose="020B0604020202020204" pitchFamily="34" charset="0"/>
              <a:buNone/>
            </a:pPr>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For further information refer to:</a:t>
            </a:r>
          </a:p>
          <a:p>
            <a:r>
              <a:rPr lang="en-US">
                <a:hlinkClick r:id="rId3"/>
              </a:rPr>
              <a:t>https://docs.microsoft.com/en-us/previous-versions/sql/sql-server-2008-r2/ms191250(v=sql.105)?redirectedfrom=MSDN</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1097885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a:solidFill>
                  <a:schemeClr val="tx1"/>
                </a:solidFill>
                <a:effectLst/>
                <a:latin typeface="+mn-lt"/>
                <a:ea typeface="+mn-ea"/>
                <a:cs typeface="+mn-cs"/>
              </a:rPr>
              <a:t>PERSISTED</a:t>
            </a:r>
          </a:p>
          <a:p>
            <a:br>
              <a:rPr lang="en-US"/>
            </a:br>
            <a:r>
              <a:rPr lang="en-US" sz="882" b="0" i="0" kern="1200" baseline="0">
                <a:solidFill>
                  <a:schemeClr val="tx1"/>
                </a:solidFill>
                <a:effectLst/>
                <a:latin typeface="+mn-lt"/>
                <a:ea typeface="+mn-ea"/>
                <a:cs typeface="+mn-cs"/>
              </a:rPr>
              <a:t>Specifies that the Database Engine will physically store the computed values in the table, and update the values when any other columns on which the computed column depends are updated. Marking a computed column as PERSISTED allows an index to be created on a computed column that is deterministic, but not precise. For more information, see </a:t>
            </a:r>
            <a:r>
              <a:rPr lang="en-US" sz="882" b="0" i="0" u="sng" kern="1200" baseline="0">
                <a:solidFill>
                  <a:schemeClr val="tx1"/>
                </a:solidFill>
                <a:effectLst/>
                <a:latin typeface="+mn-lt"/>
                <a:ea typeface="+mn-ea"/>
                <a:cs typeface="+mn-cs"/>
                <a:hlinkClick r:id="rId3"/>
              </a:rPr>
              <a:t>Indexes on Computed Columns</a:t>
            </a:r>
            <a:r>
              <a:rPr lang="en-US" sz="882" b="0" i="0" kern="1200" baseline="0">
                <a:solidFill>
                  <a:schemeClr val="tx1"/>
                </a:solidFill>
                <a:effectLst/>
                <a:latin typeface="+mn-lt"/>
                <a:ea typeface="+mn-ea"/>
                <a:cs typeface="+mn-cs"/>
              </a:rPr>
              <a:t>. Any computed columns used as partitioning columns of a partitioned table must be explicitly marked PERSISTED. </a:t>
            </a:r>
            <a:r>
              <a:rPr lang="en-US" sz="882" b="0" i="1" kern="1200" baseline="0">
                <a:solidFill>
                  <a:schemeClr val="tx1"/>
                </a:solidFill>
                <a:effectLst/>
                <a:latin typeface="+mn-lt"/>
                <a:ea typeface="+mn-ea"/>
                <a:cs typeface="+mn-cs"/>
              </a:rPr>
              <a:t>computed_column_expression</a:t>
            </a:r>
            <a:r>
              <a:rPr lang="en-US" sz="882" b="0" i="0" kern="1200" baseline="0">
                <a:solidFill>
                  <a:schemeClr val="tx1"/>
                </a:solidFill>
                <a:effectLst/>
                <a:latin typeface="+mn-lt"/>
                <a:ea typeface="+mn-ea"/>
                <a:cs typeface="+mn-cs"/>
              </a:rPr>
              <a:t> must be deterministic when PERSISTED is specified.	</a:t>
            </a:r>
          </a:p>
          <a:p>
            <a:endParaRPr lang="en-US" sz="882" b="0" i="0" kern="1200" baseline="0">
              <a:solidFill>
                <a:schemeClr val="tx1"/>
              </a:solidFill>
              <a:effectLst/>
              <a:latin typeface="+mn-lt"/>
              <a:ea typeface="+mn-ea"/>
              <a:cs typeface="+mn-cs"/>
            </a:endParaRPr>
          </a:p>
          <a:p>
            <a:r>
              <a:rPr lang="en-US" sz="882" b="1" i="0" kern="1200" baseline="0">
                <a:solidFill>
                  <a:schemeClr val="tx1"/>
                </a:solidFill>
                <a:effectLst/>
                <a:latin typeface="+mn-lt"/>
                <a:ea typeface="+mn-ea"/>
                <a:cs typeface="+mn-cs"/>
              </a:rPr>
              <a:t>Creating Indexes on Persisted Computed Columns</a:t>
            </a:r>
          </a:p>
          <a:p>
            <a:endParaRPr lang="en-US" sz="882" b="1"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Sometimes you can create a computed column that is defined with an expression that is deterministic yet imprecise. You can do this when the column is marked PERSISTED in the CREATE TABLE or ALTER TABLE statement.</a:t>
            </a:r>
          </a:p>
          <a:p>
            <a:r>
              <a:rPr lang="en-US" sz="882" b="0" i="0" kern="1200" baseline="0">
                <a:solidFill>
                  <a:schemeClr val="tx1"/>
                </a:solidFill>
                <a:effectLst/>
                <a:latin typeface="+mn-lt"/>
                <a:ea typeface="+mn-ea"/>
                <a:cs typeface="+mn-cs"/>
              </a:rPr>
              <a:t>This means that the Database Engine stores the computed values in the table, and updates them when any other columns on which the computed column depends are updated. The Database Engine uses these persisted values when it creates an index on the column, and when the index is referenced in a query.</a:t>
            </a:r>
          </a:p>
          <a:p>
            <a:r>
              <a:rPr lang="en-US" sz="882" b="0" i="0" kern="1200" baseline="0">
                <a:solidFill>
                  <a:schemeClr val="tx1"/>
                </a:solidFill>
                <a:effectLst/>
                <a:latin typeface="+mn-lt"/>
                <a:ea typeface="+mn-ea"/>
                <a:cs typeface="+mn-cs"/>
              </a:rPr>
              <a:t>This option enables you to create an index on a computed column when Database Engine cannot prove with accuracy whether a function that returns computed column expressions, particularly a CLR function that is created in the .NET Framework, is both deterministic and precis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2943089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For further information refer to:</a:t>
            </a:r>
          </a:p>
          <a:p>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Primary and Foreign Key Constraints</a:t>
            </a:r>
          </a:p>
          <a:p>
            <a:r>
              <a:rPr lang="en-US">
                <a:hlinkClick r:id="rId3"/>
              </a:rPr>
              <a:t>https://docs.microsoft.com/en-us/sql/relational-databases/tables/primary-and-foreign-key-constraints?view=sql-server-ver15</a:t>
            </a:r>
            <a:endParaRPr lang="en-US"/>
          </a:p>
          <a:p>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Unique Constraints and Check Constraints</a:t>
            </a:r>
          </a:p>
          <a:p>
            <a:r>
              <a:rPr lang="en-US">
                <a:hlinkClick r:id="rId4"/>
              </a:rPr>
              <a:t>https://docs.microsoft.com/en-us/sql/relational-databases/tables/unique-constraints-and-check-constraints?view=sql-server-ver15</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3018040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a:solidFill>
                  <a:schemeClr val="tx1"/>
                </a:solidFill>
                <a:effectLst/>
                <a:latin typeface="+mn-lt"/>
                <a:ea typeface="+mn-ea"/>
                <a:cs typeface="+mn-cs"/>
              </a:rPr>
              <a:t>Parameter Sniffing</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Parameter sniffing" refers to a process whereby SQL Server "sniffs" the current parameter values during compilation or recompilation, and passes it along to the Query Optimizer so that they can be used to generate potentially more efficient query execution plans.</a:t>
            </a:r>
          </a:p>
          <a:p>
            <a:r>
              <a:rPr lang="en-US" sz="882" b="0" i="0" kern="1200" baseline="0">
                <a:solidFill>
                  <a:schemeClr val="tx1"/>
                </a:solidFill>
                <a:effectLst/>
                <a:latin typeface="+mn-lt"/>
                <a:ea typeface="+mn-ea"/>
                <a:cs typeface="+mn-cs"/>
              </a:rPr>
              <a:t>Parameter values are sniffed during compilation or recompilation for the following types of batche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Stored procedures</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Queries submitted via sp_executesql</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Prepared queries</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For more information on troubleshooting bad parameter sniffing issues, see </a:t>
            </a:r>
            <a:r>
              <a:rPr lang="en-US" sz="882" b="0" i="0" u="sng" kern="1200" baseline="0">
                <a:solidFill>
                  <a:schemeClr val="tx1"/>
                </a:solidFill>
                <a:effectLst/>
                <a:latin typeface="+mn-lt"/>
                <a:ea typeface="+mn-ea"/>
                <a:cs typeface="+mn-cs"/>
                <a:hlinkClick r:id="rId3"/>
              </a:rPr>
              <a:t>Troubleshoot queries with parameter-sensitive query execution plan issues</a:t>
            </a:r>
            <a:r>
              <a:rPr lang="en-US" sz="882" b="0" i="0" kern="1200" baseline="0">
                <a:solidFill>
                  <a:schemeClr val="tx1"/>
                </a:solidFill>
                <a:effectLst/>
                <a:latin typeface="+mn-lt"/>
                <a:ea typeface="+mn-ea"/>
                <a:cs typeface="+mn-cs"/>
              </a:rPr>
              <a:t>.</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4197593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7.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forms.office.com/r/mmh2A8fMCH" TargetMode="Externa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4.png"/><Relationship Id="rId2" Type="http://schemas.openxmlformats.org/officeDocument/2006/relationships/customXml" Target="../../customXml/item6.xml"/><Relationship Id="rId1" Type="http://schemas.openxmlformats.org/officeDocument/2006/relationships/tags" Target="../tags/tag5.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6.png"/><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noProof="0" dirty="0"/>
              <a:t>SQL Server Query Tun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noProof="0" dirty="0"/>
              <a:t>Module 9</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Using Computed Columns to Improve Performanc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Persisted Computed Columns</a:t>
            </a:r>
          </a:p>
          <a:p>
            <a:endParaRPr lang="en-US" noProof="0" dirty="0"/>
          </a:p>
        </p:txBody>
      </p:sp>
      <p:graphicFrame>
        <p:nvGraphicFramePr>
          <p:cNvPr id="5" name="Content Placeholder 4">
            <a:extLst>
              <a:ext uri="{FF2B5EF4-FFF2-40B4-BE49-F238E27FC236}">
                <a16:creationId xmlns:a16="http://schemas.microsoft.com/office/drawing/2014/main" id="{7E72E340-EF2E-497A-9F17-BF16FF21689F}"/>
              </a:ext>
            </a:extLst>
          </p:cNvPr>
          <p:cNvGraphicFramePr>
            <a:graphicFrameLocks noGrp="1"/>
          </p:cNvGraphicFramePr>
          <p:nvPr>
            <p:ph sz="quarter" idx="13"/>
            <p:extLst>
              <p:ext uri="{D42A27DB-BD31-4B8C-83A1-F6EECF244321}">
                <p14:modId xmlns:p14="http://schemas.microsoft.com/office/powerpoint/2010/main" val="2732177884"/>
              </p:ext>
            </p:extLst>
          </p:nvPr>
        </p:nvGraphicFramePr>
        <p:xfrm>
          <a:off x="655638" y="1248048"/>
          <a:ext cx="10880726" cy="2561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a:extLst>
              <a:ext uri="{FF2B5EF4-FFF2-40B4-BE49-F238E27FC236}">
                <a16:creationId xmlns:a16="http://schemas.microsoft.com/office/drawing/2014/main" id="{85645240-CEE2-4E80-8F2B-9CF68622FF85}"/>
              </a:ext>
            </a:extLst>
          </p:cNvPr>
          <p:cNvSpPr/>
          <p:nvPr/>
        </p:nvSpPr>
        <p:spPr>
          <a:xfrm>
            <a:off x="655636" y="3921511"/>
            <a:ext cx="10834687" cy="2535850"/>
          </a:xfrm>
          <a:prstGeom prst="rect">
            <a:avLst/>
          </a:prstGeom>
          <a:ln>
            <a:solidFill>
              <a:schemeClr val="accent1"/>
            </a:solidFill>
          </a:ln>
          <a:effectLst/>
        </p:spPr>
        <p:txBody>
          <a:bodyPr wrap="square">
            <a:noAutofit/>
          </a:bodyPr>
          <a:lstStyle/>
          <a:p>
            <a:endParaRPr lang="en-US" sz="1800">
              <a:solidFill>
                <a:prstClr val="black"/>
              </a:solidFill>
              <a:latin typeface="Lucida Console" panose="020B0609040504020204" pitchFamily="49" charset="0"/>
            </a:endParaRPr>
          </a:p>
        </p:txBody>
      </p:sp>
      <p:sp>
        <p:nvSpPr>
          <p:cNvPr id="6" name="Rectangle 5">
            <a:extLst>
              <a:ext uri="{FF2B5EF4-FFF2-40B4-BE49-F238E27FC236}">
                <a16:creationId xmlns:a16="http://schemas.microsoft.com/office/drawing/2014/main" id="{5E1D1F9E-8EAB-44F3-B6A8-CAD4492253EA}"/>
              </a:ext>
            </a:extLst>
          </p:cNvPr>
          <p:cNvSpPr/>
          <p:nvPr/>
        </p:nvSpPr>
        <p:spPr>
          <a:xfrm>
            <a:off x="655636" y="4040291"/>
            <a:ext cx="10834686" cy="2308324"/>
          </a:xfrm>
          <a:prstGeom prst="rect">
            <a:avLst/>
          </a:prstGeom>
        </p:spPr>
        <p:txBody>
          <a:bodyPr wrap="square">
            <a:spAutoFit/>
          </a:bodyPr>
          <a:lstStyle/>
          <a:p>
            <a:r>
              <a:rPr lang="en-US">
                <a:solidFill>
                  <a:srgbClr val="008000"/>
                </a:solidFill>
                <a:highlight>
                  <a:srgbClr val="FFFFFF"/>
                </a:highlight>
                <a:latin typeface="Consolas" panose="020B0609020204030204" pitchFamily="49" charset="0"/>
              </a:rPr>
              <a:t>--Add a new computed column as persisted</a:t>
            </a:r>
            <a:endParaRPr lang="en-US">
              <a:solidFill>
                <a:srgbClr val="000000"/>
              </a:solidFill>
              <a:highlight>
                <a:srgbClr val="FFFFFF"/>
              </a:highlight>
              <a:latin typeface="Consolas" panose="020B0609020204030204" pitchFamily="49" charset="0"/>
            </a:endParaRPr>
          </a:p>
          <a:p>
            <a:r>
              <a:rPr lang="en-US">
                <a:solidFill>
                  <a:srgbClr val="0000FF"/>
                </a:solidFill>
                <a:highlight>
                  <a:srgbClr val="FFFFFF"/>
                </a:highlight>
                <a:latin typeface="Consolas" panose="020B0609020204030204" pitchFamily="49" charset="0"/>
              </a:rPr>
              <a:t>ALTER</a:t>
            </a:r>
            <a:r>
              <a:rPr lang="en-US">
                <a:solidFill>
                  <a:srgbClr val="000000"/>
                </a:solidFill>
                <a:highlight>
                  <a:srgbClr val="FFFFFF"/>
                </a:highlight>
                <a:latin typeface="Consolas" panose="020B0609020204030204" pitchFamily="49" charset="0"/>
              </a:rPr>
              <a:t> </a:t>
            </a:r>
            <a:r>
              <a:rPr lang="en-US">
                <a:solidFill>
                  <a:srgbClr val="0000FF"/>
                </a:solidFill>
                <a:highlight>
                  <a:srgbClr val="FFFFFF"/>
                </a:highlight>
                <a:latin typeface="Consolas" panose="020B0609020204030204" pitchFamily="49" charset="0"/>
              </a:rPr>
              <a:t>TABLE</a:t>
            </a:r>
            <a:r>
              <a:rPr lang="en-US">
                <a:solidFill>
                  <a:srgbClr val="000000"/>
                </a:solidFill>
                <a:highlight>
                  <a:srgbClr val="FFFFFF"/>
                </a:highlight>
                <a:latin typeface="Consolas" panose="020B0609020204030204" pitchFamily="49" charset="0"/>
              </a:rPr>
              <a:t> [dbo]</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ProductTest]</a:t>
            </a:r>
          </a:p>
          <a:p>
            <a:r>
              <a:rPr lang="en-US">
                <a:solidFill>
                  <a:srgbClr val="0000FF"/>
                </a:solidFill>
                <a:highlight>
                  <a:srgbClr val="FFFFFF"/>
                </a:highlight>
                <a:latin typeface="Consolas" panose="020B0609020204030204" pitchFamily="49" charset="0"/>
              </a:rPr>
              <a:t>ADD</a:t>
            </a:r>
            <a:r>
              <a:rPr lang="en-US">
                <a:solidFill>
                  <a:srgbClr val="000000"/>
                </a:solidFill>
                <a:highlight>
                  <a:srgbClr val="FFFFFF"/>
                </a:highlight>
                <a:latin typeface="Consolas" panose="020B0609020204030204" pitchFamily="49" charset="0"/>
              </a:rPr>
              <a:t> stockValue </a:t>
            </a:r>
            <a:r>
              <a:rPr lang="en-US">
                <a:solidFill>
                  <a:srgbClr val="0000FF"/>
                </a:solidFill>
                <a:highlight>
                  <a:srgbClr val="FFFFFF"/>
                </a:highlight>
                <a:latin typeface="Consolas" panose="020B0609020204030204" pitchFamily="49" charset="0"/>
              </a:rPr>
              <a:t>AS </a:t>
            </a:r>
            <a:r>
              <a:rPr lang="en-US">
                <a:solidFill>
                  <a:srgbClr val="808080"/>
                </a:solidFill>
                <a:highlight>
                  <a:srgbClr val="FFFFFF"/>
                </a:highlight>
                <a:latin typeface="Consolas" panose="020B0609020204030204" pitchFamily="49" charset="0"/>
              </a:rPr>
              <a:t>(</a:t>
            </a:r>
            <a:r>
              <a:rPr lang="en-US">
                <a:solidFill>
                  <a:srgbClr val="FF00FF"/>
                </a:solidFill>
                <a:highlight>
                  <a:srgbClr val="FFFFFF"/>
                </a:highlight>
                <a:latin typeface="Consolas" panose="020B0609020204030204" pitchFamily="49" charset="0"/>
              </a:rPr>
              <a:t>isnull</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UnitPrice] </a:t>
            </a:r>
            <a:r>
              <a:rPr lang="en-US">
                <a:solidFill>
                  <a:srgbClr val="808080"/>
                </a:solidFill>
                <a:highlight>
                  <a:srgbClr val="FFFFFF"/>
                </a:highlight>
                <a:latin typeface="Consolas" panose="020B0609020204030204" pitchFamily="49" charset="0"/>
              </a:rPr>
              <a:t>*</a:t>
            </a:r>
            <a:r>
              <a:rPr lang="en-US">
                <a:solidFill>
                  <a:srgbClr val="0000FF"/>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1.0</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UnitPriceDiscount]</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StockQty]</a:t>
            </a:r>
            <a:r>
              <a:rPr lang="en-US">
                <a:solidFill>
                  <a:srgbClr val="808080"/>
                </a:solidFill>
                <a:highlight>
                  <a:srgbClr val="FFFFFF"/>
                </a:highlight>
                <a:latin typeface="Consolas" panose="020B0609020204030204" pitchFamily="49" charset="0"/>
              </a:rPr>
              <a:t>,</a:t>
            </a:r>
            <a:r>
              <a:rPr lang="en-US">
                <a:solidFill>
                  <a:srgbClr val="0000FF"/>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0.0</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PERSISTED</a:t>
            </a:r>
            <a:r>
              <a:rPr lang="en-US">
                <a:solidFill>
                  <a:srgbClr val="808080"/>
                </a:solidFill>
                <a:highlight>
                  <a:srgbClr val="FFFFFF"/>
                </a:highlight>
                <a:latin typeface="Consolas" panose="020B0609020204030204" pitchFamily="49" charset="0"/>
              </a:rPr>
              <a:t>;</a:t>
            </a:r>
            <a:endParaRPr lang="en-US">
              <a:solidFill>
                <a:srgbClr val="000000"/>
              </a:solidFill>
              <a:highlight>
                <a:srgbClr val="FFFFFF"/>
              </a:highlight>
              <a:latin typeface="Consolas" panose="020B0609020204030204" pitchFamily="49" charset="0"/>
            </a:endParaRPr>
          </a:p>
          <a:p>
            <a:endParaRPr lang="en-US">
              <a:solidFill>
                <a:srgbClr val="000000"/>
              </a:solidFill>
              <a:highlight>
                <a:srgbClr val="FFFFFF"/>
              </a:highlight>
              <a:latin typeface="Consolas" panose="020B0609020204030204" pitchFamily="49" charset="0"/>
            </a:endParaRPr>
          </a:p>
          <a:p>
            <a:endParaRPr lang="en-US">
              <a:solidFill>
                <a:srgbClr val="000000"/>
              </a:solidFill>
              <a:highlight>
                <a:srgbClr val="FFFFFF"/>
              </a:highlight>
              <a:latin typeface="Consolas" panose="020B0609020204030204" pitchFamily="49" charset="0"/>
            </a:endParaRPr>
          </a:p>
          <a:p>
            <a:r>
              <a:rPr lang="en-US">
                <a:solidFill>
                  <a:srgbClr val="008000"/>
                </a:solidFill>
                <a:highlight>
                  <a:srgbClr val="FFFFFF"/>
                </a:highlight>
                <a:latin typeface="Consolas" panose="020B0609020204030204" pitchFamily="49" charset="0"/>
              </a:rPr>
              <a:t>--Create an index on new computed column to improve query performance</a:t>
            </a:r>
            <a:endParaRPr lang="en-US">
              <a:solidFill>
                <a:srgbClr val="000000"/>
              </a:solidFill>
              <a:highlight>
                <a:srgbClr val="FFFFFF"/>
              </a:highlight>
              <a:latin typeface="Consolas" panose="020B0609020204030204" pitchFamily="49" charset="0"/>
            </a:endParaRPr>
          </a:p>
          <a:p>
            <a:r>
              <a:rPr lang="en-US">
                <a:solidFill>
                  <a:srgbClr val="0000FF"/>
                </a:solidFill>
                <a:highlight>
                  <a:srgbClr val="FFFFFF"/>
                </a:highlight>
                <a:latin typeface="Consolas" panose="020B0609020204030204" pitchFamily="49" charset="0"/>
              </a:rPr>
              <a:t>CREATE</a:t>
            </a:r>
            <a:r>
              <a:rPr lang="en-US">
                <a:solidFill>
                  <a:srgbClr val="000000"/>
                </a:solidFill>
                <a:highlight>
                  <a:srgbClr val="FFFFFF"/>
                </a:highlight>
                <a:latin typeface="Consolas" panose="020B0609020204030204" pitchFamily="49" charset="0"/>
              </a:rPr>
              <a:t> </a:t>
            </a:r>
            <a:r>
              <a:rPr lang="en-US">
                <a:solidFill>
                  <a:srgbClr val="0000FF"/>
                </a:solidFill>
                <a:highlight>
                  <a:srgbClr val="FFFFFF"/>
                </a:highlight>
                <a:latin typeface="Consolas" panose="020B0609020204030204" pitchFamily="49" charset="0"/>
              </a:rPr>
              <a:t>INDEX</a:t>
            </a:r>
            <a:r>
              <a:rPr lang="en-US">
                <a:solidFill>
                  <a:srgbClr val="000000"/>
                </a:solidFill>
                <a:highlight>
                  <a:srgbClr val="FFFFFF"/>
                </a:highlight>
                <a:latin typeface="Consolas" panose="020B0609020204030204" pitchFamily="49" charset="0"/>
              </a:rPr>
              <a:t> IX_StockValue </a:t>
            </a:r>
            <a:r>
              <a:rPr lang="en-US">
                <a:solidFill>
                  <a:srgbClr val="0000FF"/>
                </a:solidFill>
                <a:highlight>
                  <a:srgbClr val="FFFFFF"/>
                </a:highlight>
                <a:latin typeface="Consolas" panose="020B0609020204030204" pitchFamily="49" charset="0"/>
              </a:rPr>
              <a:t>ON</a:t>
            </a:r>
            <a:r>
              <a:rPr lang="en-US">
                <a:solidFill>
                  <a:srgbClr val="000000"/>
                </a:solidFill>
                <a:highlight>
                  <a:srgbClr val="FFFFFF"/>
                </a:highlight>
                <a:latin typeface="Consolas" panose="020B0609020204030204" pitchFamily="49" charset="0"/>
              </a:rPr>
              <a:t> [dbo]</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ProductTest]</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stockValue</a:t>
            </a:r>
            <a:r>
              <a:rPr lang="en-US">
                <a:solidFill>
                  <a:srgbClr val="808080"/>
                </a:solidFill>
                <a:highlight>
                  <a:srgbClr val="FFFFFF"/>
                </a:highlight>
                <a:latin typeface="Consolas" panose="020B0609020204030204" pitchFamily="49" charset="0"/>
              </a:rPr>
              <a:t>);</a:t>
            </a:r>
            <a:endParaRPr lang="en-US"/>
          </a:p>
        </p:txBody>
      </p:sp>
    </p:spTree>
    <p:extLst>
      <p:ext uri="{BB962C8B-B14F-4D97-AF65-F5344CB8AC3E}">
        <p14:creationId xmlns:p14="http://schemas.microsoft.com/office/powerpoint/2010/main" val="2664115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Using Constraints to Improve Performanc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Helping Query Optimizer to choose better plans</a:t>
            </a:r>
          </a:p>
        </p:txBody>
      </p:sp>
      <p:graphicFrame>
        <p:nvGraphicFramePr>
          <p:cNvPr id="6" name="Content Placeholder 5">
            <a:extLst>
              <a:ext uri="{FF2B5EF4-FFF2-40B4-BE49-F238E27FC236}">
                <a16:creationId xmlns:a16="http://schemas.microsoft.com/office/drawing/2014/main" id="{CC3B0AF6-AB05-4E36-A886-78D48B9EBC2D}"/>
              </a:ext>
            </a:extLst>
          </p:cNvPr>
          <p:cNvGraphicFramePr>
            <a:graphicFrameLocks noGrp="1"/>
          </p:cNvGraphicFramePr>
          <p:nvPr>
            <p:ph sz="quarter" idx="13"/>
            <p:extLst>
              <p:ext uri="{D42A27DB-BD31-4B8C-83A1-F6EECF244321}">
                <p14:modId xmlns:p14="http://schemas.microsoft.com/office/powerpoint/2010/main" val="3465113461"/>
              </p:ext>
            </p:extLst>
          </p:nvPr>
        </p:nvGraphicFramePr>
        <p:xfrm>
          <a:off x="655638" y="1408114"/>
          <a:ext cx="10880724" cy="4459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1153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Parameter Sniffing</a:t>
            </a:r>
          </a:p>
        </p:txBody>
      </p:sp>
      <p:graphicFrame>
        <p:nvGraphicFramePr>
          <p:cNvPr id="5" name="Content Placeholder 4">
            <a:extLst>
              <a:ext uri="{FF2B5EF4-FFF2-40B4-BE49-F238E27FC236}">
                <a16:creationId xmlns:a16="http://schemas.microsoft.com/office/drawing/2014/main" id="{183428EC-41EC-4796-9D07-EE61B682C8D5}"/>
              </a:ext>
            </a:extLst>
          </p:cNvPr>
          <p:cNvGraphicFramePr>
            <a:graphicFrameLocks noGrp="1"/>
          </p:cNvGraphicFramePr>
          <p:nvPr>
            <p:ph sz="quarter" idx="13"/>
            <p:extLst>
              <p:ext uri="{D42A27DB-BD31-4B8C-83A1-F6EECF244321}">
                <p14:modId xmlns:p14="http://schemas.microsoft.com/office/powerpoint/2010/main" val="3702321291"/>
              </p:ext>
            </p:extLst>
          </p:nvPr>
        </p:nvGraphicFramePr>
        <p:xfrm>
          <a:off x="655638" y="1332699"/>
          <a:ext cx="10880724" cy="35870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DE576BD8-FEF0-4C52-A896-1F9DC0C9F6A7}"/>
              </a:ext>
            </a:extLst>
          </p:cNvPr>
          <p:cNvGraphicFramePr/>
          <p:nvPr>
            <p:extLst>
              <p:ext uri="{D42A27DB-BD31-4B8C-83A1-F6EECF244321}">
                <p14:modId xmlns:p14="http://schemas.microsoft.com/office/powerpoint/2010/main" val="4041867732"/>
              </p:ext>
            </p:extLst>
          </p:nvPr>
        </p:nvGraphicFramePr>
        <p:xfrm>
          <a:off x="914400" y="5177318"/>
          <a:ext cx="10621962" cy="11079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20703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Parameter Sniff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Mitigation</a:t>
            </a:r>
          </a:p>
        </p:txBody>
      </p:sp>
      <p:graphicFrame>
        <p:nvGraphicFramePr>
          <p:cNvPr id="7" name="Content Placeholder 6">
            <a:extLst>
              <a:ext uri="{FF2B5EF4-FFF2-40B4-BE49-F238E27FC236}">
                <a16:creationId xmlns:a16="http://schemas.microsoft.com/office/drawing/2014/main" id="{91D55682-2279-4CA6-AFAA-8D4913249615}"/>
              </a:ext>
            </a:extLst>
          </p:cNvPr>
          <p:cNvGraphicFramePr>
            <a:graphicFrameLocks noGrp="1"/>
          </p:cNvGraphicFramePr>
          <p:nvPr>
            <p:ph sz="quarter" idx="13"/>
            <p:extLst>
              <p:ext uri="{D42A27DB-BD31-4B8C-83A1-F6EECF244321}">
                <p14:modId xmlns:p14="http://schemas.microsoft.com/office/powerpoint/2010/main" val="1098424318"/>
              </p:ext>
            </p:extLst>
          </p:nvPr>
        </p:nvGraphicFramePr>
        <p:xfrm>
          <a:off x="655638" y="1408114"/>
          <a:ext cx="1088072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501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noProof="0"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noProof="0" dirty="0"/>
              <a:t>Query Tuning Sargability</a:t>
            </a:r>
          </a:p>
          <a:p>
            <a:r>
              <a:rPr lang="en-US" noProof="0" dirty="0">
                <a:solidFill>
                  <a:prstClr val="black"/>
                </a:solidFill>
                <a:latin typeface="Segoe UI Light" pitchFamily="34" charset="0"/>
              </a:rPr>
              <a:t>Query Tuning using </a:t>
            </a:r>
            <a:endParaRPr lang="en-US" noProof="0" dirty="0"/>
          </a:p>
          <a:p>
            <a:pPr marL="342900" lvl="0" indent="-342900" defTabSz="914460">
              <a:lnSpc>
                <a:spcPct val="90000"/>
              </a:lnSpc>
              <a:spcAft>
                <a:spcPts val="333"/>
              </a:spcAft>
              <a:buFont typeface="Arial" panose="020B0604020202020204" pitchFamily="34" charset="0"/>
              <a:buChar char="•"/>
            </a:pPr>
            <a:r>
              <a:rPr lang="en-US" noProof="0" dirty="0">
                <a:solidFill>
                  <a:prstClr val="black"/>
                </a:solidFill>
                <a:latin typeface="Segoe UI Light" pitchFamily="34" charset="0"/>
              </a:rPr>
              <a:t>Sargability</a:t>
            </a:r>
          </a:p>
          <a:p>
            <a:pPr marL="342900" lvl="0" indent="-342900" defTabSz="914460">
              <a:lnSpc>
                <a:spcPct val="90000"/>
              </a:lnSpc>
              <a:spcAft>
                <a:spcPts val="333"/>
              </a:spcAft>
              <a:buFont typeface="Arial" panose="020B0604020202020204" pitchFamily="34" charset="0"/>
              <a:buChar char="•"/>
            </a:pPr>
            <a:r>
              <a:rPr lang="en-US" noProof="0" dirty="0">
                <a:solidFill>
                  <a:prstClr val="black"/>
                </a:solidFill>
                <a:latin typeface="Segoe UI Light" pitchFamily="34" charset="0"/>
              </a:rPr>
              <a:t>Constraints</a:t>
            </a:r>
          </a:p>
          <a:p>
            <a:pPr marL="342900" lvl="0" indent="-342900" defTabSz="914460">
              <a:lnSpc>
                <a:spcPct val="90000"/>
              </a:lnSpc>
              <a:spcAft>
                <a:spcPts val="333"/>
              </a:spcAft>
              <a:buFont typeface="Arial" panose="020B0604020202020204" pitchFamily="34" charset="0"/>
              <a:buChar char="•"/>
            </a:pPr>
            <a:r>
              <a:rPr lang="en-US" noProof="0" dirty="0">
                <a:solidFill>
                  <a:prstClr val="black"/>
                </a:solidFill>
                <a:latin typeface="Segoe UI Light" pitchFamily="34" charset="0"/>
              </a:rPr>
              <a:t>Computed Columns</a:t>
            </a:r>
          </a:p>
          <a:p>
            <a:endParaRPr lang="en-US" noProof="0"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noProof="0" dirty="0"/>
              <a:t>Query Tuning SARGability</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noProof="0" dirty="0"/>
              <a:t>Applying SARGable expression to create better execution plans</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41313833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noProof="0"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3761129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67943-74F6-E318-7B28-5E9399FEE487}"/>
              </a:ext>
            </a:extLst>
          </p:cNvPr>
          <p:cNvSpPr>
            <a:spLocks noGrp="1"/>
          </p:cNvSpPr>
          <p:nvPr>
            <p:ph type="title"/>
          </p:nvPr>
        </p:nvSpPr>
        <p:spPr/>
        <p:txBody>
          <a:bodyPr/>
          <a:lstStyle/>
          <a:p>
            <a:endParaRPr lang="en-GB"/>
          </a:p>
        </p:txBody>
      </p:sp>
      <p:pic>
        <p:nvPicPr>
          <p:cNvPr id="4" name="Picture 3" descr="A qr code on a black background&#10;&#10;AI-generated content may be incorrect.">
            <a:hlinkClick r:id="rId2"/>
            <a:extLst>
              <a:ext uri="{FF2B5EF4-FFF2-40B4-BE49-F238E27FC236}">
                <a16:creationId xmlns:a16="http://schemas.microsoft.com/office/drawing/2014/main" id="{7E48B36C-DC4E-CF2C-D4B7-F538289BDA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Tree>
    <p:extLst>
      <p:ext uri="{BB962C8B-B14F-4D97-AF65-F5344CB8AC3E}">
        <p14:creationId xmlns:p14="http://schemas.microsoft.com/office/powerpoint/2010/main" val="1006452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noProof="0"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noProof="0" dirty="0"/>
              <a:t>Lesson 1: </a:t>
            </a:r>
            <a:r>
              <a:rPr lang="en-US" noProof="0" dirty="0" err="1"/>
              <a:t>SARGable</a:t>
            </a:r>
            <a:r>
              <a:rPr lang="en-US" noProof="0" dirty="0"/>
              <a:t> Expressions</a:t>
            </a:r>
          </a:p>
        </p:txBody>
      </p:sp>
    </p:spTree>
    <p:extLst>
      <p:ext uri="{BB962C8B-B14F-4D97-AF65-F5344CB8AC3E}">
        <p14:creationId xmlns:p14="http://schemas.microsoft.com/office/powerpoint/2010/main" val="161556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noProof="0" dirty="0"/>
              <a:t>Lesson 1: </a:t>
            </a:r>
            <a:r>
              <a:rPr lang="en-US" noProof="0" dirty="0" err="1"/>
              <a:t>Sargable</a:t>
            </a:r>
            <a:r>
              <a:rPr lang="en-US" noProof="0" dirty="0"/>
              <a:t> Expressions</a:t>
            </a:r>
          </a:p>
        </p:txBody>
      </p:sp>
    </p:spTree>
    <p:extLst>
      <p:ext uri="{BB962C8B-B14F-4D97-AF65-F5344CB8AC3E}">
        <p14:creationId xmlns:p14="http://schemas.microsoft.com/office/powerpoint/2010/main" val="4083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noProof="0"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noProof="0"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noProof="0" dirty="0"/>
              <a:t>Address SARGability Issues.</a:t>
            </a:r>
          </a:p>
          <a:p>
            <a:endParaRPr lang="en-US" noProof="0" dirty="0"/>
          </a:p>
          <a:p>
            <a:r>
              <a:rPr lang="en-US" noProof="0" dirty="0"/>
              <a:t>Use computed columns for performance.</a:t>
            </a:r>
          </a:p>
          <a:p>
            <a:endParaRPr lang="en-US" noProof="0" dirty="0"/>
          </a:p>
          <a:p>
            <a:r>
              <a:rPr lang="en-US" noProof="0" dirty="0"/>
              <a:t>Use constraints for performance.</a:t>
            </a:r>
          </a:p>
          <a:p>
            <a:endParaRPr lang="en-US" noProof="0" dirty="0"/>
          </a:p>
          <a:p>
            <a:r>
              <a:rPr lang="en-US" noProof="0" dirty="0"/>
              <a:t>Understand parameter sniffing.</a:t>
            </a:r>
          </a:p>
          <a:p>
            <a:endParaRPr lang="en-US" noProof="0"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SARGability</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What is this?</a:t>
            </a:r>
          </a:p>
        </p:txBody>
      </p:sp>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1236325256"/>
              </p:ext>
            </p:extLst>
          </p:nvPr>
        </p:nvGraphicFramePr>
        <p:xfrm>
          <a:off x="381000" y="1466958"/>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3">
            <a:extLst>
              <a:ext uri="{FF2B5EF4-FFF2-40B4-BE49-F238E27FC236}">
                <a16:creationId xmlns:a16="http://schemas.microsoft.com/office/drawing/2014/main" id="{C2382317-9B10-47B8-B7C9-2FF2A2F5E50F}"/>
              </a:ext>
            </a:extLst>
          </p:cNvPr>
          <p:cNvPicPr>
            <a:picLocks noChangeAspect="1"/>
          </p:cNvPicPr>
          <p:nvPr/>
        </p:nvPicPr>
        <p:blipFill rotWithShape="1">
          <a:blip r:embed="rId8">
            <a:extLst>
              <a:ext uri="{28A0092B-C50C-407E-A947-70E740481C1C}">
                <a14:useLocalDpi xmlns:a14="http://schemas.microsoft.com/office/drawing/2010/main" val="0"/>
              </a:ext>
            </a:extLst>
          </a:blip>
          <a:srcRect b="23125"/>
          <a:stretch/>
        </p:blipFill>
        <p:spPr>
          <a:xfrm>
            <a:off x="6248400" y="1466959"/>
            <a:ext cx="4572000" cy="4572001"/>
          </a:xfrm>
          <a:prstGeom prst="rect">
            <a:avLst/>
          </a:prstGeom>
        </p:spPr>
      </p:pic>
    </p:spTree>
    <p:extLst>
      <p:ext uri="{BB962C8B-B14F-4D97-AF65-F5344CB8AC3E}">
        <p14:creationId xmlns:p14="http://schemas.microsoft.com/office/powerpoint/2010/main" val="3235270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Non-SARGable Expressions</a:t>
            </a:r>
          </a:p>
        </p:txBody>
      </p:sp>
      <p:graphicFrame>
        <p:nvGraphicFramePr>
          <p:cNvPr id="5" name="Content Placeholder 4">
            <a:extLst>
              <a:ext uri="{FF2B5EF4-FFF2-40B4-BE49-F238E27FC236}">
                <a16:creationId xmlns:a16="http://schemas.microsoft.com/office/drawing/2014/main" id="{64472889-AC66-4D30-B909-C39C713ADA6F}"/>
              </a:ext>
            </a:extLst>
          </p:cNvPr>
          <p:cNvGraphicFramePr>
            <a:graphicFrameLocks noGrp="1"/>
          </p:cNvGraphicFramePr>
          <p:nvPr>
            <p:ph sz="quarter" idx="13"/>
            <p:extLst>
              <p:ext uri="{D42A27DB-BD31-4B8C-83A1-F6EECF244321}">
                <p14:modId xmlns:p14="http://schemas.microsoft.com/office/powerpoint/2010/main" val="141777048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69738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Non-SARGable Expres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Continued</a:t>
            </a:r>
          </a:p>
        </p:txBody>
      </p:sp>
      <p:graphicFrame>
        <p:nvGraphicFramePr>
          <p:cNvPr id="6" name="Content Placeholder 5">
            <a:extLst>
              <a:ext uri="{FF2B5EF4-FFF2-40B4-BE49-F238E27FC236}">
                <a16:creationId xmlns:a16="http://schemas.microsoft.com/office/drawing/2014/main" id="{81993934-601C-495F-A56F-B1E425A8F1ED}"/>
              </a:ext>
            </a:extLst>
          </p:cNvPr>
          <p:cNvGraphicFramePr>
            <a:graphicFrameLocks noGrp="1"/>
          </p:cNvGraphicFramePr>
          <p:nvPr>
            <p:ph sz="quarter" idx="13"/>
            <p:extLst>
              <p:ext uri="{D42A27DB-BD31-4B8C-83A1-F6EECF244321}">
                <p14:modId xmlns:p14="http://schemas.microsoft.com/office/powerpoint/2010/main" val="1387642011"/>
              </p:ext>
            </p:extLst>
          </p:nvPr>
        </p:nvGraphicFramePr>
        <p:xfrm>
          <a:off x="655638" y="1408114"/>
          <a:ext cx="10880726" cy="72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6EB49AFE-F031-4FB6-80AF-E5D8016E3918}"/>
              </a:ext>
            </a:extLst>
          </p:cNvPr>
          <p:cNvGraphicFramePr/>
          <p:nvPr>
            <p:extLst>
              <p:ext uri="{D42A27DB-BD31-4B8C-83A1-F6EECF244321}">
                <p14:modId xmlns:p14="http://schemas.microsoft.com/office/powerpoint/2010/main" val="3509452984"/>
              </p:ext>
            </p:extLst>
          </p:nvPr>
        </p:nvGraphicFramePr>
        <p:xfrm>
          <a:off x="307293" y="2802683"/>
          <a:ext cx="5821363" cy="32689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Rectangle 10">
            <a:extLst>
              <a:ext uri="{FF2B5EF4-FFF2-40B4-BE49-F238E27FC236}">
                <a16:creationId xmlns:a16="http://schemas.microsoft.com/office/drawing/2014/main" id="{6E3EA82B-CAB2-48F5-B88A-E180C91E12BD}"/>
              </a:ext>
            </a:extLst>
          </p:cNvPr>
          <p:cNvSpPr/>
          <p:nvPr/>
        </p:nvSpPr>
        <p:spPr>
          <a:xfrm>
            <a:off x="1370833" y="2283475"/>
            <a:ext cx="4087287" cy="369332"/>
          </a:xfrm>
          <a:prstGeom prst="rect">
            <a:avLst/>
          </a:prstGeom>
        </p:spPr>
        <p:txBody>
          <a:bodyPr wrap="square">
            <a:spAutoFit/>
          </a:bodyPr>
          <a:lstStyle/>
          <a:p>
            <a:pPr lvl="0"/>
            <a:r>
              <a:rPr lang="en-US" dirty="0" err="1">
                <a:solidFill>
                  <a:srgbClr val="4C4C4C"/>
                </a:solidFill>
                <a:latin typeface="Segoe UI" panose="020B0502040204020203" pitchFamily="34" charset="0"/>
                <a:cs typeface="Segoe UI" panose="020B0502040204020203" pitchFamily="34" charset="0"/>
              </a:rPr>
              <a:t>ProductID</a:t>
            </a:r>
            <a:r>
              <a:rPr lang="en-US" dirty="0">
                <a:solidFill>
                  <a:srgbClr val="4C4C4C"/>
                </a:solidFill>
                <a:latin typeface="Segoe UI" panose="020B0502040204020203" pitchFamily="34" charset="0"/>
                <a:cs typeface="Segoe UI" panose="020B0502040204020203" pitchFamily="34" charset="0"/>
              </a:rPr>
              <a:t> is defined as </a:t>
            </a:r>
            <a:r>
              <a:rPr lang="en-US" b="1" dirty="0">
                <a:solidFill>
                  <a:srgbClr val="4C4C4C"/>
                </a:solidFill>
                <a:latin typeface="Segoe UI" panose="020B0502040204020203" pitchFamily="34" charset="0"/>
                <a:cs typeface="Segoe UI" panose="020B0502040204020203" pitchFamily="34" charset="0"/>
              </a:rPr>
              <a:t>nvarchar(8)</a:t>
            </a:r>
            <a:endParaRPr lang="pt-PT" b="1" dirty="0">
              <a:solidFill>
                <a:srgbClr val="4C4C4C"/>
              </a:solidFill>
              <a:latin typeface="Segoe UI" panose="020B0502040204020203" pitchFamily="34" charset="0"/>
              <a:cs typeface="Segoe UI" panose="020B0502040204020203" pitchFamily="34" charset="0"/>
            </a:endParaRPr>
          </a:p>
        </p:txBody>
      </p:sp>
      <p:pic>
        <p:nvPicPr>
          <p:cNvPr id="13" name="Picture 12">
            <a:extLst>
              <a:ext uri="{FF2B5EF4-FFF2-40B4-BE49-F238E27FC236}">
                <a16:creationId xmlns:a16="http://schemas.microsoft.com/office/drawing/2014/main" id="{A761D6A3-EA3B-4BB3-BBC0-47FD6DF6120A}"/>
              </a:ext>
            </a:extLst>
          </p:cNvPr>
          <p:cNvPicPr>
            <a:picLocks noChangeAspect="1"/>
          </p:cNvPicPr>
          <p:nvPr/>
        </p:nvPicPr>
        <p:blipFill>
          <a:blip r:embed="rId13"/>
          <a:stretch>
            <a:fillRect/>
          </a:stretch>
        </p:blipFill>
        <p:spPr>
          <a:xfrm>
            <a:off x="6128656" y="2802683"/>
            <a:ext cx="4838206" cy="3921160"/>
          </a:xfrm>
          <a:prstGeom prst="rect">
            <a:avLst/>
          </a:prstGeom>
        </p:spPr>
      </p:pic>
    </p:spTree>
    <p:extLst>
      <p:ext uri="{BB962C8B-B14F-4D97-AF65-F5344CB8AC3E}">
        <p14:creationId xmlns:p14="http://schemas.microsoft.com/office/powerpoint/2010/main" val="8743303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Using Computed Columns to Improve Performance</a:t>
            </a:r>
          </a:p>
        </p:txBody>
      </p:sp>
      <p:graphicFrame>
        <p:nvGraphicFramePr>
          <p:cNvPr id="6" name="Content Placeholder 5">
            <a:extLst>
              <a:ext uri="{FF2B5EF4-FFF2-40B4-BE49-F238E27FC236}">
                <a16:creationId xmlns:a16="http://schemas.microsoft.com/office/drawing/2014/main" id="{64BCEA23-A843-4229-AD6C-D259CAC3109D}"/>
              </a:ext>
            </a:extLst>
          </p:cNvPr>
          <p:cNvGraphicFramePr>
            <a:graphicFrameLocks noGrp="1"/>
          </p:cNvGraphicFramePr>
          <p:nvPr>
            <p:ph sz="quarter" idx="13"/>
            <p:extLst>
              <p:ext uri="{D42A27DB-BD31-4B8C-83A1-F6EECF244321}">
                <p14:modId xmlns:p14="http://schemas.microsoft.com/office/powerpoint/2010/main" val="398292426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09515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C42A160-080E-4178-8FDB-B5422D4D778A}">
  <ds:schemaRefs>
    <ds:schemaRef ds:uri="Strauss.PersonalizationDefinition"/>
  </ds:schemaRefs>
</ds:datastoreItem>
</file>

<file path=customXml/itemProps2.xml><?xml version="1.0" encoding="utf-8"?>
<ds:datastoreItem xmlns:ds="http://schemas.openxmlformats.org/officeDocument/2006/customXml" ds:itemID="{9A738911-1E81-4F31-8C31-F26EABF551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4.xml><?xml version="1.0" encoding="utf-8"?>
<ds:datastoreItem xmlns:ds="http://schemas.openxmlformats.org/officeDocument/2006/customXml" ds:itemID="{9CFE9A22-C3CB-45B7-B365-FE59FD6BB66B}">
  <ds:schemaRefs>
    <ds:schemaRef ds:uri="Strauss.PersonalizationDefinition"/>
  </ds:schemaRefs>
</ds:datastoreItem>
</file>

<file path=customXml/itemProps5.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6.xml><?xml version="1.0" encoding="utf-8"?>
<ds:datastoreItem xmlns:ds="http://schemas.openxmlformats.org/officeDocument/2006/customXml" ds:itemID="{CD086AF5-CCD3-41C8-B98A-2B159789D38E}">
  <ds:schemaRefs>
    <ds:schemaRef ds:uri="Strauss.PersonalizationDefinition"/>
  </ds:schemaRefs>
</ds:datastoreItem>
</file>

<file path=customXml/itemProps7.xml><?xml version="1.0" encoding="utf-8"?>
<ds:datastoreItem xmlns:ds="http://schemas.openxmlformats.org/officeDocument/2006/customXml" ds:itemID="{EBCC33FC-94BB-4B1D-A4C6-D2E6A3A4B1FD}">
  <ds:schemaRefs>
    <ds:schemaRef ds:uri="Strauss.PersonalizationDefinition"/>
  </ds:schemaRefs>
</ds:datastoreItem>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417</TotalTime>
  <Words>2545</Words>
  <Application>Microsoft Office PowerPoint</Application>
  <PresentationFormat>Widescreen</PresentationFormat>
  <Paragraphs>238</Paragraphs>
  <Slides>18</Slides>
  <Notes>13</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8</vt:i4>
      </vt:variant>
    </vt:vector>
  </HeadingPairs>
  <TitlesOfParts>
    <vt:vector size="27" baseType="lpstr">
      <vt:lpstr>Arial</vt:lpstr>
      <vt:lpstr>Comic Sans MS</vt:lpstr>
      <vt:lpstr>Consolas</vt:lpstr>
      <vt:lpstr>Lucida Console</vt:lpstr>
      <vt:lpstr>Segoe UI</vt:lpstr>
      <vt:lpstr>Segoe UI Light</vt:lpstr>
      <vt:lpstr>Segoe UI Semibold</vt:lpstr>
      <vt:lpstr>Wingdings</vt:lpstr>
      <vt:lpstr>Dark Blue</vt:lpstr>
      <vt:lpstr>SQL Server Query Tuning</vt:lpstr>
      <vt:lpstr>PowerPoint Presentation</vt:lpstr>
      <vt:lpstr>Learning Units covered in this Module</vt:lpstr>
      <vt:lpstr>Lesson 1: Sargable Expressions</vt:lpstr>
      <vt:lpstr>Objectives</vt:lpstr>
      <vt:lpstr>SARGability</vt:lpstr>
      <vt:lpstr>Non-SARGable Expressions</vt:lpstr>
      <vt:lpstr>Non-SARGable Expressions</vt:lpstr>
      <vt:lpstr>Using Computed Columns to Improve Performance</vt:lpstr>
      <vt:lpstr>Using Computed Columns to Improve Performance</vt:lpstr>
      <vt:lpstr>Using Constraints to Improve Performance</vt:lpstr>
      <vt:lpstr>Parameter Sniffing</vt:lpstr>
      <vt:lpstr>Parameter Sniffing</vt:lpstr>
      <vt:lpstr>Demonstration</vt:lpstr>
      <vt:lpstr>Query Tuning SARGability</vt:lpstr>
      <vt:lpstr>Knowledge Chec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Valmir Meneses</cp:lastModifiedBy>
  <cp:revision>13</cp:revision>
  <dcterms:created xsi:type="dcterms:W3CDTF">2019-08-12T16:24:54Z</dcterms:created>
  <dcterms:modified xsi:type="dcterms:W3CDTF">2025-04-07T13: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